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3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4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5.xml" ContentType="application/vnd.openxmlformats-officedocument.drawingml.chartshape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6.xml" ContentType="application/vnd.openxmlformats-officedocument.drawingml.chartshape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2" r:id="rId2"/>
    <p:sldMasterId id="2147483681" r:id="rId3"/>
    <p:sldMasterId id="2147483689" r:id="rId4"/>
    <p:sldMasterId id="2147483716" r:id="rId5"/>
    <p:sldMasterId id="2147483737" r:id="rId6"/>
  </p:sldMasterIdLst>
  <p:notesMasterIdLst>
    <p:notesMasterId r:id="rId16"/>
  </p:notesMasterIdLst>
  <p:handoutMasterIdLst>
    <p:handoutMasterId r:id="rId17"/>
  </p:handoutMasterIdLst>
  <p:sldIdLst>
    <p:sldId id="336" r:id="rId7"/>
    <p:sldId id="374" r:id="rId8"/>
    <p:sldId id="375" r:id="rId9"/>
    <p:sldId id="366" r:id="rId10"/>
    <p:sldId id="376" r:id="rId11"/>
    <p:sldId id="367" r:id="rId12"/>
    <p:sldId id="377" r:id="rId13"/>
    <p:sldId id="368" r:id="rId14"/>
    <p:sldId id="338" r:id="rId15"/>
  </p:sldIdLst>
  <p:sldSz cx="12192000" cy="6858000"/>
  <p:notesSz cx="6797675" cy="9926638"/>
  <p:custDataLst>
    <p:tags r:id="rId18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 userDrawn="1">
          <p15:clr>
            <a:srgbClr val="A4A3A4"/>
          </p15:clr>
        </p15:guide>
        <p15:guide id="4" pos="7151" userDrawn="1">
          <p15:clr>
            <a:srgbClr val="A4A3A4"/>
          </p15:clr>
        </p15:guide>
        <p15:guide id="7" orient="horz" pos="2319" userDrawn="1">
          <p15:clr>
            <a:srgbClr val="A4A3A4"/>
          </p15:clr>
        </p15:guide>
        <p15:guide id="8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DF2"/>
    <a:srgbClr val="F6F5F1"/>
    <a:srgbClr val="366D6B"/>
    <a:srgbClr val="D36248"/>
    <a:srgbClr val="8FB8CA"/>
    <a:srgbClr val="3B5776"/>
    <a:srgbClr val="9D9C9C"/>
    <a:srgbClr val="36646B"/>
    <a:srgbClr val="7DB094"/>
    <a:srgbClr val="D462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82577" autoAdjust="0"/>
  </p:normalViewPr>
  <p:slideViewPr>
    <p:cSldViewPr snapToGrid="0" showGuides="1">
      <p:cViewPr varScale="1">
        <p:scale>
          <a:sx n="161" d="100"/>
          <a:sy n="161" d="100"/>
        </p:scale>
        <p:origin x="150" y="168"/>
      </p:cViewPr>
      <p:guideLst>
        <p:guide pos="3840"/>
        <p:guide pos="7151"/>
        <p:guide orient="horz" pos="2319"/>
        <p:guide orient="horz" pos="36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4" d="100"/>
          <a:sy n="74" d="100"/>
        </p:scale>
        <p:origin x="4044" y="7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g.local\Shares\Profiles\petwar\Desktop\Arbetsl&#246;shet%20styrelsen%2013%20decemb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g.local\Shares\Profiles\petwar\Desktop\Arbetsl&#246;shet%20styrelsen%2013%20decemb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g.local\Shares\Profiles\petwar\Desktop\Arbetsl&#246;shet%20styrelsen%2013%20decemb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g.local\Shares\Profiles\petwar\Desktop\Arbetsl&#246;shet%20styrelsen%2013%20december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g.local\Shares\Profiles\petwar\Desktop\Arbetsl&#246;shet%20styrelsen%2013%20december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g.local\Shares\Profiles\petwar\Desktop\Arbetsl&#246;shet%20styrelsen%2013%20december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g.local\Shares\Profiles\petwar\Desktop\Arbetsl&#246;shet%20styrelsen%2013%20december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g.local\Shares\Profiles\petwar\Desktop\Arbetsl&#246;shet%20styrelsen%2013%20december.xlsx" TargetMode="Externa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g.local\Shares\Profiles\petwar\Desktop\Arbetsl&#246;shet%20styrelsen%2013%20december.xlsx" TargetMode="Externa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643597442691554E-2"/>
          <c:y val="6.0329173272400262E-2"/>
          <c:w val="0.7884321637426901"/>
          <c:h val="0.64285614298227611"/>
        </c:manualLayout>
      </c:layout>
      <c:lineChart>
        <c:grouping val="standard"/>
        <c:varyColors val="0"/>
        <c:ser>
          <c:idx val="0"/>
          <c:order val="0"/>
          <c:tx>
            <c:v>  Arbetslösa totalt 16-64 år</c:v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4"/>
              <c:layout>
                <c:manualLayout>
                  <c:x val="-0.24693508771929826"/>
                  <c:y val="-4.610983595279342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71A-4B73-8A91-50DAEA088FC5}"/>
                </c:ext>
              </c:extLst>
            </c:dLbl>
            <c:dLbl>
              <c:idx val="33"/>
              <c:layout>
                <c:manualLayout>
                  <c:x val="0"/>
                  <c:y val="2.85941223193010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1A-4B73-8A91-50DAEA088F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Varaktighet över tid'!$A$4:$A$37</c:f>
              <c:strCache>
                <c:ptCount val="34"/>
                <c:pt idx="0">
                  <c:v>Januari 2019</c:v>
                </c:pt>
                <c:pt idx="1">
                  <c:v>Februari 2019</c:v>
                </c:pt>
                <c:pt idx="2">
                  <c:v>Mars 2019</c:v>
                </c:pt>
                <c:pt idx="3">
                  <c:v>April 2019</c:v>
                </c:pt>
                <c:pt idx="4">
                  <c:v>Maj 2019</c:v>
                </c:pt>
                <c:pt idx="5">
                  <c:v>Juni 2019</c:v>
                </c:pt>
                <c:pt idx="6">
                  <c:v>Juli 2019</c:v>
                </c:pt>
                <c:pt idx="7">
                  <c:v>Augusti 2019</c:v>
                </c:pt>
                <c:pt idx="8">
                  <c:v>September 2019</c:v>
                </c:pt>
                <c:pt idx="9">
                  <c:v>Oktober 2019</c:v>
                </c:pt>
                <c:pt idx="10">
                  <c:v>November 2019</c:v>
                </c:pt>
                <c:pt idx="11">
                  <c:v>December 2019</c:v>
                </c:pt>
                <c:pt idx="12">
                  <c:v>Januari 2020</c:v>
                </c:pt>
                <c:pt idx="13">
                  <c:v>Februari 2020</c:v>
                </c:pt>
                <c:pt idx="14">
                  <c:v>Mars 2020</c:v>
                </c:pt>
                <c:pt idx="15">
                  <c:v>April 2020</c:v>
                </c:pt>
                <c:pt idx="16">
                  <c:v>Maj 2020</c:v>
                </c:pt>
                <c:pt idx="17">
                  <c:v>Juni 2020</c:v>
                </c:pt>
                <c:pt idx="18">
                  <c:v>Juli 2020</c:v>
                </c:pt>
                <c:pt idx="19">
                  <c:v>Augusti 2020</c:v>
                </c:pt>
                <c:pt idx="20">
                  <c:v>September 2020</c:v>
                </c:pt>
                <c:pt idx="21">
                  <c:v>Oktober 2020</c:v>
                </c:pt>
                <c:pt idx="22">
                  <c:v>November 2020</c:v>
                </c:pt>
                <c:pt idx="23">
                  <c:v>December 2020</c:v>
                </c:pt>
                <c:pt idx="24">
                  <c:v>Januari 2021</c:v>
                </c:pt>
                <c:pt idx="25">
                  <c:v>Februari 2021</c:v>
                </c:pt>
                <c:pt idx="26">
                  <c:v>Mars 2021</c:v>
                </c:pt>
                <c:pt idx="27">
                  <c:v>April 2021</c:v>
                </c:pt>
                <c:pt idx="28">
                  <c:v>Maj 2021</c:v>
                </c:pt>
                <c:pt idx="29">
                  <c:v>Juni 2021</c:v>
                </c:pt>
                <c:pt idx="30">
                  <c:v>Juli 2021</c:v>
                </c:pt>
                <c:pt idx="31">
                  <c:v>Augusti 2021</c:v>
                </c:pt>
                <c:pt idx="32">
                  <c:v>September 2021</c:v>
                </c:pt>
                <c:pt idx="33">
                  <c:v>Oktober 2021</c:v>
                </c:pt>
              </c:strCache>
            </c:strRef>
          </c:cat>
          <c:val>
            <c:numRef>
              <c:f>'Varaktighet över tid'!$B$4:$B$37</c:f>
              <c:numCache>
                <c:formatCode>#,##0</c:formatCode>
                <c:ptCount val="34"/>
                <c:pt idx="0">
                  <c:v>28754</c:v>
                </c:pt>
                <c:pt idx="1">
                  <c:v>28776</c:v>
                </c:pt>
                <c:pt idx="2">
                  <c:v>28410</c:v>
                </c:pt>
                <c:pt idx="3">
                  <c:v>27893</c:v>
                </c:pt>
                <c:pt idx="4">
                  <c:v>27671</c:v>
                </c:pt>
                <c:pt idx="5">
                  <c:v>28429</c:v>
                </c:pt>
                <c:pt idx="6">
                  <c:v>29471</c:v>
                </c:pt>
                <c:pt idx="7">
                  <c:v>30286</c:v>
                </c:pt>
                <c:pt idx="8">
                  <c:v>30435</c:v>
                </c:pt>
                <c:pt idx="9">
                  <c:v>30435</c:v>
                </c:pt>
                <c:pt idx="10">
                  <c:v>30608</c:v>
                </c:pt>
                <c:pt idx="11">
                  <c:v>30992</c:v>
                </c:pt>
                <c:pt idx="12">
                  <c:v>31631</c:v>
                </c:pt>
                <c:pt idx="13">
                  <c:v>31638</c:v>
                </c:pt>
                <c:pt idx="14">
                  <c:v>33636</c:v>
                </c:pt>
                <c:pt idx="15">
                  <c:v>38049</c:v>
                </c:pt>
                <c:pt idx="16">
                  <c:v>41283</c:v>
                </c:pt>
                <c:pt idx="17">
                  <c:v>44985</c:v>
                </c:pt>
                <c:pt idx="18">
                  <c:v>47034</c:v>
                </c:pt>
                <c:pt idx="19">
                  <c:v>46662</c:v>
                </c:pt>
                <c:pt idx="20">
                  <c:v>45288</c:v>
                </c:pt>
                <c:pt idx="21">
                  <c:v>44131</c:v>
                </c:pt>
                <c:pt idx="22">
                  <c:v>43328</c:v>
                </c:pt>
                <c:pt idx="23">
                  <c:v>43729</c:v>
                </c:pt>
                <c:pt idx="24">
                  <c:v>44116</c:v>
                </c:pt>
                <c:pt idx="25">
                  <c:v>43383</c:v>
                </c:pt>
                <c:pt idx="26">
                  <c:v>41785</c:v>
                </c:pt>
                <c:pt idx="27">
                  <c:v>40416</c:v>
                </c:pt>
                <c:pt idx="28">
                  <c:v>39266</c:v>
                </c:pt>
                <c:pt idx="29">
                  <c:v>39016</c:v>
                </c:pt>
                <c:pt idx="30">
                  <c:v>39181</c:v>
                </c:pt>
                <c:pt idx="31">
                  <c:v>37976</c:v>
                </c:pt>
                <c:pt idx="32">
                  <c:v>36351</c:v>
                </c:pt>
                <c:pt idx="33">
                  <c:v>34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1A-4B73-8A91-50DAEA088FC5}"/>
            </c:ext>
          </c:extLst>
        </c:ser>
        <c:ser>
          <c:idx val="1"/>
          <c:order val="1"/>
          <c:tx>
            <c:v>  Därav utan arbete &gt;6 mån</c:v>
          </c:tx>
          <c:spPr>
            <a:ln w="57150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4"/>
              <c:layout>
                <c:manualLayout>
                  <c:x val="-0.24690877192982455"/>
                  <c:y val="-5.358033184692263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1A-4B73-8A91-50DAEA088FC5}"/>
                </c:ext>
              </c:extLst>
            </c:dLbl>
            <c:dLbl>
              <c:idx val="33"/>
              <c:layout>
                <c:manualLayout>
                  <c:x val="0"/>
                  <c:y val="2.85941223193009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71A-4B73-8A91-50DAEA088F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Varaktighet över tid'!$A$4:$A$37</c:f>
              <c:strCache>
                <c:ptCount val="34"/>
                <c:pt idx="0">
                  <c:v>Januari 2019</c:v>
                </c:pt>
                <c:pt idx="1">
                  <c:v>Februari 2019</c:v>
                </c:pt>
                <c:pt idx="2">
                  <c:v>Mars 2019</c:v>
                </c:pt>
                <c:pt idx="3">
                  <c:v>April 2019</c:v>
                </c:pt>
                <c:pt idx="4">
                  <c:v>Maj 2019</c:v>
                </c:pt>
                <c:pt idx="5">
                  <c:v>Juni 2019</c:v>
                </c:pt>
                <c:pt idx="6">
                  <c:v>Juli 2019</c:v>
                </c:pt>
                <c:pt idx="7">
                  <c:v>Augusti 2019</c:v>
                </c:pt>
                <c:pt idx="8">
                  <c:v>September 2019</c:v>
                </c:pt>
                <c:pt idx="9">
                  <c:v>Oktober 2019</c:v>
                </c:pt>
                <c:pt idx="10">
                  <c:v>November 2019</c:v>
                </c:pt>
                <c:pt idx="11">
                  <c:v>December 2019</c:v>
                </c:pt>
                <c:pt idx="12">
                  <c:v>Januari 2020</c:v>
                </c:pt>
                <c:pt idx="13">
                  <c:v>Februari 2020</c:v>
                </c:pt>
                <c:pt idx="14">
                  <c:v>Mars 2020</c:v>
                </c:pt>
                <c:pt idx="15">
                  <c:v>April 2020</c:v>
                </c:pt>
                <c:pt idx="16">
                  <c:v>Maj 2020</c:v>
                </c:pt>
                <c:pt idx="17">
                  <c:v>Juni 2020</c:v>
                </c:pt>
                <c:pt idx="18">
                  <c:v>Juli 2020</c:v>
                </c:pt>
                <c:pt idx="19">
                  <c:v>Augusti 2020</c:v>
                </c:pt>
                <c:pt idx="20">
                  <c:v>September 2020</c:v>
                </c:pt>
                <c:pt idx="21">
                  <c:v>Oktober 2020</c:v>
                </c:pt>
                <c:pt idx="22">
                  <c:v>November 2020</c:v>
                </c:pt>
                <c:pt idx="23">
                  <c:v>December 2020</c:v>
                </c:pt>
                <c:pt idx="24">
                  <c:v>Januari 2021</c:v>
                </c:pt>
                <c:pt idx="25">
                  <c:v>Februari 2021</c:v>
                </c:pt>
                <c:pt idx="26">
                  <c:v>Mars 2021</c:v>
                </c:pt>
                <c:pt idx="27">
                  <c:v>April 2021</c:v>
                </c:pt>
                <c:pt idx="28">
                  <c:v>Maj 2021</c:v>
                </c:pt>
                <c:pt idx="29">
                  <c:v>Juni 2021</c:v>
                </c:pt>
                <c:pt idx="30">
                  <c:v>Juli 2021</c:v>
                </c:pt>
                <c:pt idx="31">
                  <c:v>Augusti 2021</c:v>
                </c:pt>
                <c:pt idx="32">
                  <c:v>September 2021</c:v>
                </c:pt>
                <c:pt idx="33">
                  <c:v>Oktober 2021</c:v>
                </c:pt>
              </c:strCache>
            </c:strRef>
          </c:cat>
          <c:val>
            <c:numRef>
              <c:f>'Varaktighet över tid'!$C$4:$C$37</c:f>
              <c:numCache>
                <c:formatCode>#,##0</c:formatCode>
                <c:ptCount val="34"/>
                <c:pt idx="0">
                  <c:v>16347</c:v>
                </c:pt>
                <c:pt idx="1">
                  <c:v>16277</c:v>
                </c:pt>
                <c:pt idx="2">
                  <c:v>16421</c:v>
                </c:pt>
                <c:pt idx="3">
                  <c:v>16463</c:v>
                </c:pt>
                <c:pt idx="4">
                  <c:v>16425</c:v>
                </c:pt>
                <c:pt idx="5">
                  <c:v>16281</c:v>
                </c:pt>
                <c:pt idx="6">
                  <c:v>16875</c:v>
                </c:pt>
                <c:pt idx="7">
                  <c:v>17453</c:v>
                </c:pt>
                <c:pt idx="8">
                  <c:v>17356</c:v>
                </c:pt>
                <c:pt idx="9">
                  <c:v>17425</c:v>
                </c:pt>
                <c:pt idx="10">
                  <c:v>17516</c:v>
                </c:pt>
                <c:pt idx="11">
                  <c:v>17903</c:v>
                </c:pt>
                <c:pt idx="12">
                  <c:v>17861</c:v>
                </c:pt>
                <c:pt idx="13">
                  <c:v>17965</c:v>
                </c:pt>
                <c:pt idx="14">
                  <c:v>18284</c:v>
                </c:pt>
                <c:pt idx="15">
                  <c:v>18785</c:v>
                </c:pt>
                <c:pt idx="16">
                  <c:v>19521</c:v>
                </c:pt>
                <c:pt idx="17">
                  <c:v>20102</c:v>
                </c:pt>
                <c:pt idx="18">
                  <c:v>21500</c:v>
                </c:pt>
                <c:pt idx="19">
                  <c:v>22347</c:v>
                </c:pt>
                <c:pt idx="20">
                  <c:v>23507</c:v>
                </c:pt>
                <c:pt idx="21">
                  <c:v>25138</c:v>
                </c:pt>
                <c:pt idx="22">
                  <c:v>25436</c:v>
                </c:pt>
                <c:pt idx="23">
                  <c:v>26700</c:v>
                </c:pt>
                <c:pt idx="24">
                  <c:v>26623</c:v>
                </c:pt>
                <c:pt idx="25">
                  <c:v>26348</c:v>
                </c:pt>
                <c:pt idx="26">
                  <c:v>26094</c:v>
                </c:pt>
                <c:pt idx="27">
                  <c:v>25744</c:v>
                </c:pt>
                <c:pt idx="28">
                  <c:v>25266</c:v>
                </c:pt>
                <c:pt idx="29">
                  <c:v>24653</c:v>
                </c:pt>
                <c:pt idx="30">
                  <c:v>25119</c:v>
                </c:pt>
                <c:pt idx="31">
                  <c:v>25090</c:v>
                </c:pt>
                <c:pt idx="32">
                  <c:v>23952</c:v>
                </c:pt>
                <c:pt idx="33">
                  <c:v>22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71A-4B73-8A91-50DAEA088F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30870864"/>
        <c:axId val="1530875024"/>
      </c:lineChart>
      <c:catAx>
        <c:axId val="1530870864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6350" cap="flat" cmpd="sng" algn="ctr">
            <a:solidFill>
              <a:sysClr val="windowText" lastClr="000000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30875024"/>
        <c:crosses val="autoZero"/>
        <c:auto val="1"/>
        <c:lblAlgn val="ctr"/>
        <c:lblOffset val="100"/>
        <c:tickLblSkip val="4"/>
        <c:noMultiLvlLbl val="0"/>
      </c:catAx>
      <c:valAx>
        <c:axId val="1530875024"/>
        <c:scaling>
          <c:orientation val="minMax"/>
        </c:scaling>
        <c:delete val="0"/>
        <c:axPos val="l"/>
        <c:numFmt formatCode="#,##0" sourceLinked="1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30870864"/>
        <c:crosses val="autoZero"/>
        <c:crossBetween val="between"/>
        <c:majorUnit val="10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643597442691554E-2"/>
          <c:y val="6.0329173272400262E-2"/>
          <c:w val="0.79214561403508776"/>
          <c:h val="0.64285614298227611"/>
        </c:manualLayout>
      </c:layout>
      <c:lineChart>
        <c:grouping val="standard"/>
        <c:varyColors val="0"/>
        <c:ser>
          <c:idx val="0"/>
          <c:order val="0"/>
          <c:tx>
            <c:v>  Arbetslösa totalt 16-64 år</c:v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4"/>
              <c:layout>
                <c:manualLayout>
                  <c:x val="-0.25642222222222227"/>
                  <c:y val="-6.09126626626626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C3E-4A4D-8415-52980D9C5170}"/>
                </c:ext>
              </c:extLst>
            </c:dLbl>
            <c:dLbl>
              <c:idx val="33"/>
              <c:layout>
                <c:manualLayout>
                  <c:x val="0"/>
                  <c:y val="3.17817817817817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C3E-4A4D-8415-52980D9C51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Varaktighet över tid'!$A$4:$A$37</c:f>
              <c:strCache>
                <c:ptCount val="34"/>
                <c:pt idx="0">
                  <c:v>Januari 2019</c:v>
                </c:pt>
                <c:pt idx="1">
                  <c:v>Februari 2019</c:v>
                </c:pt>
                <c:pt idx="2">
                  <c:v>Mars 2019</c:v>
                </c:pt>
                <c:pt idx="3">
                  <c:v>April 2019</c:v>
                </c:pt>
                <c:pt idx="4">
                  <c:v>Maj 2019</c:v>
                </c:pt>
                <c:pt idx="5">
                  <c:v>Juni 2019</c:v>
                </c:pt>
                <c:pt idx="6">
                  <c:v>Juli 2019</c:v>
                </c:pt>
                <c:pt idx="7">
                  <c:v>Augusti 2019</c:v>
                </c:pt>
                <c:pt idx="8">
                  <c:v>September 2019</c:v>
                </c:pt>
                <c:pt idx="9">
                  <c:v>Oktober 2019</c:v>
                </c:pt>
                <c:pt idx="10">
                  <c:v>November 2019</c:v>
                </c:pt>
                <c:pt idx="11">
                  <c:v>December 2019</c:v>
                </c:pt>
                <c:pt idx="12">
                  <c:v>Januari 2020</c:v>
                </c:pt>
                <c:pt idx="13">
                  <c:v>Februari 2020</c:v>
                </c:pt>
                <c:pt idx="14">
                  <c:v>Mars 2020</c:v>
                </c:pt>
                <c:pt idx="15">
                  <c:v>April 2020</c:v>
                </c:pt>
                <c:pt idx="16">
                  <c:v>Maj 2020</c:v>
                </c:pt>
                <c:pt idx="17">
                  <c:v>Juni 2020</c:v>
                </c:pt>
                <c:pt idx="18">
                  <c:v>Juli 2020</c:v>
                </c:pt>
                <c:pt idx="19">
                  <c:v>Augusti 2020</c:v>
                </c:pt>
                <c:pt idx="20">
                  <c:v>September 2020</c:v>
                </c:pt>
                <c:pt idx="21">
                  <c:v>Oktober 2020</c:v>
                </c:pt>
                <c:pt idx="22">
                  <c:v>November 2020</c:v>
                </c:pt>
                <c:pt idx="23">
                  <c:v>December 2020</c:v>
                </c:pt>
                <c:pt idx="24">
                  <c:v>Januari 2021</c:v>
                </c:pt>
                <c:pt idx="25">
                  <c:v>Februari 2021</c:v>
                </c:pt>
                <c:pt idx="26">
                  <c:v>Mars 2021</c:v>
                </c:pt>
                <c:pt idx="27">
                  <c:v>April 2021</c:v>
                </c:pt>
                <c:pt idx="28">
                  <c:v>Maj 2021</c:v>
                </c:pt>
                <c:pt idx="29">
                  <c:v>Juni 2021</c:v>
                </c:pt>
                <c:pt idx="30">
                  <c:v>Juli 2021</c:v>
                </c:pt>
                <c:pt idx="31">
                  <c:v>Augusti 2021</c:v>
                </c:pt>
                <c:pt idx="32">
                  <c:v>September 2021</c:v>
                </c:pt>
                <c:pt idx="33">
                  <c:v>Oktober 2021</c:v>
                </c:pt>
              </c:strCache>
            </c:strRef>
          </c:cat>
          <c:val>
            <c:numRef>
              <c:f>'Varaktighet över tid'!$B$4:$B$37</c:f>
              <c:numCache>
                <c:formatCode>#,##0</c:formatCode>
                <c:ptCount val="34"/>
                <c:pt idx="0">
                  <c:v>28754</c:v>
                </c:pt>
                <c:pt idx="1">
                  <c:v>28776</c:v>
                </c:pt>
                <c:pt idx="2">
                  <c:v>28410</c:v>
                </c:pt>
                <c:pt idx="3">
                  <c:v>27893</c:v>
                </c:pt>
                <c:pt idx="4">
                  <c:v>27671</c:v>
                </c:pt>
                <c:pt idx="5">
                  <c:v>28429</c:v>
                </c:pt>
                <c:pt idx="6">
                  <c:v>29471</c:v>
                </c:pt>
                <c:pt idx="7">
                  <c:v>30286</c:v>
                </c:pt>
                <c:pt idx="8">
                  <c:v>30435</c:v>
                </c:pt>
                <c:pt idx="9">
                  <c:v>30435</c:v>
                </c:pt>
                <c:pt idx="10">
                  <c:v>30608</c:v>
                </c:pt>
                <c:pt idx="11">
                  <c:v>30992</c:v>
                </c:pt>
                <c:pt idx="12">
                  <c:v>31631</c:v>
                </c:pt>
                <c:pt idx="13">
                  <c:v>31638</c:v>
                </c:pt>
                <c:pt idx="14">
                  <c:v>33636</c:v>
                </c:pt>
                <c:pt idx="15">
                  <c:v>38049</c:v>
                </c:pt>
                <c:pt idx="16">
                  <c:v>41283</c:v>
                </c:pt>
                <c:pt idx="17">
                  <c:v>44985</c:v>
                </c:pt>
                <c:pt idx="18">
                  <c:v>47034</c:v>
                </c:pt>
                <c:pt idx="19">
                  <c:v>46662</c:v>
                </c:pt>
                <c:pt idx="20">
                  <c:v>45288</c:v>
                </c:pt>
                <c:pt idx="21">
                  <c:v>44131</c:v>
                </c:pt>
                <c:pt idx="22">
                  <c:v>43328</c:v>
                </c:pt>
                <c:pt idx="23">
                  <c:v>43729</c:v>
                </c:pt>
                <c:pt idx="24">
                  <c:v>44116</c:v>
                </c:pt>
                <c:pt idx="25">
                  <c:v>43383</c:v>
                </c:pt>
                <c:pt idx="26">
                  <c:v>41785</c:v>
                </c:pt>
                <c:pt idx="27">
                  <c:v>40416</c:v>
                </c:pt>
                <c:pt idx="28">
                  <c:v>39266</c:v>
                </c:pt>
                <c:pt idx="29">
                  <c:v>39016</c:v>
                </c:pt>
                <c:pt idx="30">
                  <c:v>39181</c:v>
                </c:pt>
                <c:pt idx="31">
                  <c:v>37976</c:v>
                </c:pt>
                <c:pt idx="32">
                  <c:v>36351</c:v>
                </c:pt>
                <c:pt idx="33">
                  <c:v>34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C3E-4A4D-8415-52980D9C5170}"/>
            </c:ext>
          </c:extLst>
        </c:ser>
        <c:ser>
          <c:idx val="1"/>
          <c:order val="1"/>
          <c:tx>
            <c:v>  Därav utan arbete &gt;12 mån</c:v>
          </c:tx>
          <c:spPr>
            <a:ln w="571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14"/>
              <c:layout>
                <c:manualLayout>
                  <c:x val="-0.26796929824561405"/>
                  <c:y val="-6.594369369369375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C3E-4A4D-8415-52980D9C5170}"/>
                </c:ext>
              </c:extLst>
            </c:dLbl>
            <c:dLbl>
              <c:idx val="33"/>
              <c:layout>
                <c:manualLayout>
                  <c:x val="0"/>
                  <c:y val="2.86036036036036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C3E-4A4D-8415-52980D9C51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Varaktighet över tid'!$A$4:$A$37</c:f>
              <c:strCache>
                <c:ptCount val="34"/>
                <c:pt idx="0">
                  <c:v>Januari 2019</c:v>
                </c:pt>
                <c:pt idx="1">
                  <c:v>Februari 2019</c:v>
                </c:pt>
                <c:pt idx="2">
                  <c:v>Mars 2019</c:v>
                </c:pt>
                <c:pt idx="3">
                  <c:v>April 2019</c:v>
                </c:pt>
                <c:pt idx="4">
                  <c:v>Maj 2019</c:v>
                </c:pt>
                <c:pt idx="5">
                  <c:v>Juni 2019</c:v>
                </c:pt>
                <c:pt idx="6">
                  <c:v>Juli 2019</c:v>
                </c:pt>
                <c:pt idx="7">
                  <c:v>Augusti 2019</c:v>
                </c:pt>
                <c:pt idx="8">
                  <c:v>September 2019</c:v>
                </c:pt>
                <c:pt idx="9">
                  <c:v>Oktober 2019</c:v>
                </c:pt>
                <c:pt idx="10">
                  <c:v>November 2019</c:v>
                </c:pt>
                <c:pt idx="11">
                  <c:v>December 2019</c:v>
                </c:pt>
                <c:pt idx="12">
                  <c:v>Januari 2020</c:v>
                </c:pt>
                <c:pt idx="13">
                  <c:v>Februari 2020</c:v>
                </c:pt>
                <c:pt idx="14">
                  <c:v>Mars 2020</c:v>
                </c:pt>
                <c:pt idx="15">
                  <c:v>April 2020</c:v>
                </c:pt>
                <c:pt idx="16">
                  <c:v>Maj 2020</c:v>
                </c:pt>
                <c:pt idx="17">
                  <c:v>Juni 2020</c:v>
                </c:pt>
                <c:pt idx="18">
                  <c:v>Juli 2020</c:v>
                </c:pt>
                <c:pt idx="19">
                  <c:v>Augusti 2020</c:v>
                </c:pt>
                <c:pt idx="20">
                  <c:v>September 2020</c:v>
                </c:pt>
                <c:pt idx="21">
                  <c:v>Oktober 2020</c:v>
                </c:pt>
                <c:pt idx="22">
                  <c:v>November 2020</c:v>
                </c:pt>
                <c:pt idx="23">
                  <c:v>December 2020</c:v>
                </c:pt>
                <c:pt idx="24">
                  <c:v>Januari 2021</c:v>
                </c:pt>
                <c:pt idx="25">
                  <c:v>Februari 2021</c:v>
                </c:pt>
                <c:pt idx="26">
                  <c:v>Mars 2021</c:v>
                </c:pt>
                <c:pt idx="27">
                  <c:v>April 2021</c:v>
                </c:pt>
                <c:pt idx="28">
                  <c:v>Maj 2021</c:v>
                </c:pt>
                <c:pt idx="29">
                  <c:v>Juni 2021</c:v>
                </c:pt>
                <c:pt idx="30">
                  <c:v>Juli 2021</c:v>
                </c:pt>
                <c:pt idx="31">
                  <c:v>Augusti 2021</c:v>
                </c:pt>
                <c:pt idx="32">
                  <c:v>September 2021</c:v>
                </c:pt>
                <c:pt idx="33">
                  <c:v>Oktober 2021</c:v>
                </c:pt>
              </c:strCache>
            </c:strRef>
          </c:cat>
          <c:val>
            <c:numRef>
              <c:f>'Varaktighet över tid'!$D$4:$D$37</c:f>
              <c:numCache>
                <c:formatCode>#,##0</c:formatCode>
                <c:ptCount val="34"/>
                <c:pt idx="0">
                  <c:v>11222</c:v>
                </c:pt>
                <c:pt idx="1">
                  <c:v>11220</c:v>
                </c:pt>
                <c:pt idx="2">
                  <c:v>11210</c:v>
                </c:pt>
                <c:pt idx="3">
                  <c:v>11106</c:v>
                </c:pt>
                <c:pt idx="4">
                  <c:v>11052</c:v>
                </c:pt>
                <c:pt idx="5">
                  <c:v>11080</c:v>
                </c:pt>
                <c:pt idx="6">
                  <c:v>11148</c:v>
                </c:pt>
                <c:pt idx="7">
                  <c:v>11377</c:v>
                </c:pt>
                <c:pt idx="8">
                  <c:v>11543</c:v>
                </c:pt>
                <c:pt idx="9">
                  <c:v>11657</c:v>
                </c:pt>
                <c:pt idx="10">
                  <c:v>11776</c:v>
                </c:pt>
                <c:pt idx="11">
                  <c:v>11806</c:v>
                </c:pt>
                <c:pt idx="12">
                  <c:v>11999</c:v>
                </c:pt>
                <c:pt idx="13">
                  <c:v>12096</c:v>
                </c:pt>
                <c:pt idx="14">
                  <c:v>12116</c:v>
                </c:pt>
                <c:pt idx="15">
                  <c:v>12363</c:v>
                </c:pt>
                <c:pt idx="16">
                  <c:v>12716</c:v>
                </c:pt>
                <c:pt idx="17">
                  <c:v>13118</c:v>
                </c:pt>
                <c:pt idx="18">
                  <c:v>13539</c:v>
                </c:pt>
                <c:pt idx="19">
                  <c:v>13954</c:v>
                </c:pt>
                <c:pt idx="20">
                  <c:v>14347</c:v>
                </c:pt>
                <c:pt idx="21">
                  <c:v>14479</c:v>
                </c:pt>
                <c:pt idx="22">
                  <c:v>14535</c:v>
                </c:pt>
                <c:pt idx="23">
                  <c:v>14701</c:v>
                </c:pt>
                <c:pt idx="24">
                  <c:v>15226</c:v>
                </c:pt>
                <c:pt idx="25">
                  <c:v>15425</c:v>
                </c:pt>
                <c:pt idx="26">
                  <c:v>15777</c:v>
                </c:pt>
                <c:pt idx="27">
                  <c:v>16581</c:v>
                </c:pt>
                <c:pt idx="28">
                  <c:v>16838</c:v>
                </c:pt>
                <c:pt idx="29">
                  <c:v>16954</c:v>
                </c:pt>
                <c:pt idx="30">
                  <c:v>17179</c:v>
                </c:pt>
                <c:pt idx="31">
                  <c:v>17043</c:v>
                </c:pt>
                <c:pt idx="32">
                  <c:v>16821</c:v>
                </c:pt>
                <c:pt idx="33">
                  <c:v>16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C3E-4A4D-8415-52980D9C51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30870864"/>
        <c:axId val="1530875024"/>
      </c:lineChart>
      <c:catAx>
        <c:axId val="1530870864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6350" cap="flat" cmpd="sng" algn="ctr">
            <a:solidFill>
              <a:sysClr val="windowText" lastClr="000000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30875024"/>
        <c:crosses val="autoZero"/>
        <c:auto val="1"/>
        <c:lblAlgn val="ctr"/>
        <c:lblOffset val="100"/>
        <c:tickLblSkip val="4"/>
        <c:noMultiLvlLbl val="0"/>
      </c:catAx>
      <c:valAx>
        <c:axId val="1530875024"/>
        <c:scaling>
          <c:orientation val="minMax"/>
        </c:scaling>
        <c:delete val="0"/>
        <c:axPos val="l"/>
        <c:numFmt formatCode="#,##0" sourceLinked="1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30870864"/>
        <c:crosses val="autoZero"/>
        <c:crossBetween val="between"/>
        <c:majorUnit val="10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643597442691554E-2"/>
          <c:y val="6.0329173272400262E-2"/>
          <c:w val="0.79801988304093563"/>
          <c:h val="0.64285614298227611"/>
        </c:manualLayout>
      </c:layout>
      <c:lineChart>
        <c:grouping val="standard"/>
        <c:varyColors val="0"/>
        <c:ser>
          <c:idx val="0"/>
          <c:order val="0"/>
          <c:tx>
            <c:v>  Arbetslösa totalt 16-64 år</c:v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4"/>
              <c:layout>
                <c:manualLayout>
                  <c:x val="-0.26796929824561405"/>
                  <c:y val="-6.052952952952955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DFC-4BC6-97CB-AAFEE17EE1A7}"/>
                </c:ext>
              </c:extLst>
            </c:dLbl>
            <c:dLbl>
              <c:idx val="33"/>
              <c:layout>
                <c:manualLayout>
                  <c:x val="0"/>
                  <c:y val="3.49599599599599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DFC-4BC6-97CB-AAFEE17EE1A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Varaktighet över tid'!$A$4:$A$37</c:f>
              <c:strCache>
                <c:ptCount val="34"/>
                <c:pt idx="0">
                  <c:v>Januari 2019</c:v>
                </c:pt>
                <c:pt idx="1">
                  <c:v>Februari 2019</c:v>
                </c:pt>
                <c:pt idx="2">
                  <c:v>Mars 2019</c:v>
                </c:pt>
                <c:pt idx="3">
                  <c:v>April 2019</c:v>
                </c:pt>
                <c:pt idx="4">
                  <c:v>Maj 2019</c:v>
                </c:pt>
                <c:pt idx="5">
                  <c:v>Juni 2019</c:v>
                </c:pt>
                <c:pt idx="6">
                  <c:v>Juli 2019</c:v>
                </c:pt>
                <c:pt idx="7">
                  <c:v>Augusti 2019</c:v>
                </c:pt>
                <c:pt idx="8">
                  <c:v>September 2019</c:v>
                </c:pt>
                <c:pt idx="9">
                  <c:v>Oktober 2019</c:v>
                </c:pt>
                <c:pt idx="10">
                  <c:v>November 2019</c:v>
                </c:pt>
                <c:pt idx="11">
                  <c:v>December 2019</c:v>
                </c:pt>
                <c:pt idx="12">
                  <c:v>Januari 2020</c:v>
                </c:pt>
                <c:pt idx="13">
                  <c:v>Februari 2020</c:v>
                </c:pt>
                <c:pt idx="14">
                  <c:v>Mars 2020</c:v>
                </c:pt>
                <c:pt idx="15">
                  <c:v>April 2020</c:v>
                </c:pt>
                <c:pt idx="16">
                  <c:v>Maj 2020</c:v>
                </c:pt>
                <c:pt idx="17">
                  <c:v>Juni 2020</c:v>
                </c:pt>
                <c:pt idx="18">
                  <c:v>Juli 2020</c:v>
                </c:pt>
                <c:pt idx="19">
                  <c:v>Augusti 2020</c:v>
                </c:pt>
                <c:pt idx="20">
                  <c:v>September 2020</c:v>
                </c:pt>
                <c:pt idx="21">
                  <c:v>Oktober 2020</c:v>
                </c:pt>
                <c:pt idx="22">
                  <c:v>November 2020</c:v>
                </c:pt>
                <c:pt idx="23">
                  <c:v>December 2020</c:v>
                </c:pt>
                <c:pt idx="24">
                  <c:v>Januari 2021</c:v>
                </c:pt>
                <c:pt idx="25">
                  <c:v>Februari 2021</c:v>
                </c:pt>
                <c:pt idx="26">
                  <c:v>Mars 2021</c:v>
                </c:pt>
                <c:pt idx="27">
                  <c:v>April 2021</c:v>
                </c:pt>
                <c:pt idx="28">
                  <c:v>Maj 2021</c:v>
                </c:pt>
                <c:pt idx="29">
                  <c:v>Juni 2021</c:v>
                </c:pt>
                <c:pt idx="30">
                  <c:v>Juli 2021</c:v>
                </c:pt>
                <c:pt idx="31">
                  <c:v>Augusti 2021</c:v>
                </c:pt>
                <c:pt idx="32">
                  <c:v>September 2021</c:v>
                </c:pt>
                <c:pt idx="33">
                  <c:v>Oktober 2021</c:v>
                </c:pt>
              </c:strCache>
            </c:strRef>
          </c:cat>
          <c:val>
            <c:numRef>
              <c:f>'Varaktighet över tid'!$B$4:$B$37</c:f>
              <c:numCache>
                <c:formatCode>#,##0</c:formatCode>
                <c:ptCount val="34"/>
                <c:pt idx="0">
                  <c:v>28754</c:v>
                </c:pt>
                <c:pt idx="1">
                  <c:v>28776</c:v>
                </c:pt>
                <c:pt idx="2">
                  <c:v>28410</c:v>
                </c:pt>
                <c:pt idx="3">
                  <c:v>27893</c:v>
                </c:pt>
                <c:pt idx="4">
                  <c:v>27671</c:v>
                </c:pt>
                <c:pt idx="5">
                  <c:v>28429</c:v>
                </c:pt>
                <c:pt idx="6">
                  <c:v>29471</c:v>
                </c:pt>
                <c:pt idx="7">
                  <c:v>30286</c:v>
                </c:pt>
                <c:pt idx="8">
                  <c:v>30435</c:v>
                </c:pt>
                <c:pt idx="9">
                  <c:v>30435</c:v>
                </c:pt>
                <c:pt idx="10">
                  <c:v>30608</c:v>
                </c:pt>
                <c:pt idx="11">
                  <c:v>30992</c:v>
                </c:pt>
                <c:pt idx="12">
                  <c:v>31631</c:v>
                </c:pt>
                <c:pt idx="13">
                  <c:v>31638</c:v>
                </c:pt>
                <c:pt idx="14">
                  <c:v>33636</c:v>
                </c:pt>
                <c:pt idx="15">
                  <c:v>38049</c:v>
                </c:pt>
                <c:pt idx="16">
                  <c:v>41283</c:v>
                </c:pt>
                <c:pt idx="17">
                  <c:v>44985</c:v>
                </c:pt>
                <c:pt idx="18">
                  <c:v>47034</c:v>
                </c:pt>
                <c:pt idx="19">
                  <c:v>46662</c:v>
                </c:pt>
                <c:pt idx="20">
                  <c:v>45288</c:v>
                </c:pt>
                <c:pt idx="21">
                  <c:v>44131</c:v>
                </c:pt>
                <c:pt idx="22">
                  <c:v>43328</c:v>
                </c:pt>
                <c:pt idx="23">
                  <c:v>43729</c:v>
                </c:pt>
                <c:pt idx="24">
                  <c:v>44116</c:v>
                </c:pt>
                <c:pt idx="25">
                  <c:v>43383</c:v>
                </c:pt>
                <c:pt idx="26">
                  <c:v>41785</c:v>
                </c:pt>
                <c:pt idx="27">
                  <c:v>40416</c:v>
                </c:pt>
                <c:pt idx="28">
                  <c:v>39266</c:v>
                </c:pt>
                <c:pt idx="29">
                  <c:v>39016</c:v>
                </c:pt>
                <c:pt idx="30">
                  <c:v>39181</c:v>
                </c:pt>
                <c:pt idx="31">
                  <c:v>37976</c:v>
                </c:pt>
                <c:pt idx="32">
                  <c:v>36351</c:v>
                </c:pt>
                <c:pt idx="33">
                  <c:v>34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DFC-4BC6-97CB-AAFEE17EE1A7}"/>
            </c:ext>
          </c:extLst>
        </c:ser>
        <c:ser>
          <c:idx val="1"/>
          <c:order val="1"/>
          <c:tx>
            <c:v>  Därav utan arbete &gt;24 mån</c:v>
          </c:tx>
          <c:spPr>
            <a:ln w="571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14"/>
              <c:layout>
                <c:manualLayout>
                  <c:x val="-0.2782961988304094"/>
                  <c:y val="-7.174099099099098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DFC-4BC6-97CB-AAFEE17EE1A7}"/>
                </c:ext>
              </c:extLst>
            </c:dLbl>
            <c:dLbl>
              <c:idx val="33"/>
              <c:layout>
                <c:manualLayout>
                  <c:x val="0"/>
                  <c:y val="-2.86036036036037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DFC-4BC6-97CB-AAFEE17EE1A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Varaktighet över tid'!$A$4:$A$37</c:f>
              <c:strCache>
                <c:ptCount val="34"/>
                <c:pt idx="0">
                  <c:v>Januari 2019</c:v>
                </c:pt>
                <c:pt idx="1">
                  <c:v>Februari 2019</c:v>
                </c:pt>
                <c:pt idx="2">
                  <c:v>Mars 2019</c:v>
                </c:pt>
                <c:pt idx="3">
                  <c:v>April 2019</c:v>
                </c:pt>
                <c:pt idx="4">
                  <c:v>Maj 2019</c:v>
                </c:pt>
                <c:pt idx="5">
                  <c:v>Juni 2019</c:v>
                </c:pt>
                <c:pt idx="6">
                  <c:v>Juli 2019</c:v>
                </c:pt>
                <c:pt idx="7">
                  <c:v>Augusti 2019</c:v>
                </c:pt>
                <c:pt idx="8">
                  <c:v>September 2019</c:v>
                </c:pt>
                <c:pt idx="9">
                  <c:v>Oktober 2019</c:v>
                </c:pt>
                <c:pt idx="10">
                  <c:v>November 2019</c:v>
                </c:pt>
                <c:pt idx="11">
                  <c:v>December 2019</c:v>
                </c:pt>
                <c:pt idx="12">
                  <c:v>Januari 2020</c:v>
                </c:pt>
                <c:pt idx="13">
                  <c:v>Februari 2020</c:v>
                </c:pt>
                <c:pt idx="14">
                  <c:v>Mars 2020</c:v>
                </c:pt>
                <c:pt idx="15">
                  <c:v>April 2020</c:v>
                </c:pt>
                <c:pt idx="16">
                  <c:v>Maj 2020</c:v>
                </c:pt>
                <c:pt idx="17">
                  <c:v>Juni 2020</c:v>
                </c:pt>
                <c:pt idx="18">
                  <c:v>Juli 2020</c:v>
                </c:pt>
                <c:pt idx="19">
                  <c:v>Augusti 2020</c:v>
                </c:pt>
                <c:pt idx="20">
                  <c:v>September 2020</c:v>
                </c:pt>
                <c:pt idx="21">
                  <c:v>Oktober 2020</c:v>
                </c:pt>
                <c:pt idx="22">
                  <c:v>November 2020</c:v>
                </c:pt>
                <c:pt idx="23">
                  <c:v>December 2020</c:v>
                </c:pt>
                <c:pt idx="24">
                  <c:v>Januari 2021</c:v>
                </c:pt>
                <c:pt idx="25">
                  <c:v>Februari 2021</c:v>
                </c:pt>
                <c:pt idx="26">
                  <c:v>Mars 2021</c:v>
                </c:pt>
                <c:pt idx="27">
                  <c:v>April 2021</c:v>
                </c:pt>
                <c:pt idx="28">
                  <c:v>Maj 2021</c:v>
                </c:pt>
                <c:pt idx="29">
                  <c:v>Juni 2021</c:v>
                </c:pt>
                <c:pt idx="30">
                  <c:v>Juli 2021</c:v>
                </c:pt>
                <c:pt idx="31">
                  <c:v>Augusti 2021</c:v>
                </c:pt>
                <c:pt idx="32">
                  <c:v>September 2021</c:v>
                </c:pt>
                <c:pt idx="33">
                  <c:v>Oktober 2021</c:v>
                </c:pt>
              </c:strCache>
            </c:strRef>
          </c:cat>
          <c:val>
            <c:numRef>
              <c:f>'Varaktighet över tid'!$E$4:$E$37</c:f>
              <c:numCache>
                <c:formatCode>#,##0</c:formatCode>
                <c:ptCount val="34"/>
                <c:pt idx="0">
                  <c:v>5798</c:v>
                </c:pt>
                <c:pt idx="1">
                  <c:v>5835</c:v>
                </c:pt>
                <c:pt idx="2">
                  <c:v>5880</c:v>
                </c:pt>
                <c:pt idx="3">
                  <c:v>5862</c:v>
                </c:pt>
                <c:pt idx="4">
                  <c:v>5801</c:v>
                </c:pt>
                <c:pt idx="5">
                  <c:v>5762</c:v>
                </c:pt>
                <c:pt idx="6">
                  <c:v>5760</c:v>
                </c:pt>
                <c:pt idx="7">
                  <c:v>5811</c:v>
                </c:pt>
                <c:pt idx="8">
                  <c:v>5917</c:v>
                </c:pt>
                <c:pt idx="9">
                  <c:v>6017</c:v>
                </c:pt>
                <c:pt idx="10">
                  <c:v>6109</c:v>
                </c:pt>
                <c:pt idx="11">
                  <c:v>6171</c:v>
                </c:pt>
                <c:pt idx="12">
                  <c:v>6263</c:v>
                </c:pt>
                <c:pt idx="13">
                  <c:v>6319</c:v>
                </c:pt>
                <c:pt idx="14">
                  <c:v>6324</c:v>
                </c:pt>
                <c:pt idx="15">
                  <c:v>6388</c:v>
                </c:pt>
                <c:pt idx="16">
                  <c:v>6507</c:v>
                </c:pt>
                <c:pt idx="17">
                  <c:v>6668</c:v>
                </c:pt>
                <c:pt idx="18">
                  <c:v>6824</c:v>
                </c:pt>
                <c:pt idx="19">
                  <c:v>6997</c:v>
                </c:pt>
                <c:pt idx="20">
                  <c:v>7139</c:v>
                </c:pt>
                <c:pt idx="21">
                  <c:v>7237</c:v>
                </c:pt>
                <c:pt idx="22">
                  <c:v>7290</c:v>
                </c:pt>
                <c:pt idx="23">
                  <c:v>7362</c:v>
                </c:pt>
                <c:pt idx="24">
                  <c:v>7508</c:v>
                </c:pt>
                <c:pt idx="25">
                  <c:v>7606</c:v>
                </c:pt>
                <c:pt idx="26">
                  <c:v>7671</c:v>
                </c:pt>
                <c:pt idx="27">
                  <c:v>7750</c:v>
                </c:pt>
                <c:pt idx="28">
                  <c:v>7840</c:v>
                </c:pt>
                <c:pt idx="29">
                  <c:v>7878</c:v>
                </c:pt>
                <c:pt idx="30">
                  <c:v>8050</c:v>
                </c:pt>
                <c:pt idx="31">
                  <c:v>8215</c:v>
                </c:pt>
                <c:pt idx="32">
                  <c:v>8316</c:v>
                </c:pt>
                <c:pt idx="33">
                  <c:v>83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DFC-4BC6-97CB-AAFEE17EE1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30870864"/>
        <c:axId val="1530875024"/>
      </c:lineChart>
      <c:catAx>
        <c:axId val="1530870864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6350" cap="flat" cmpd="sng" algn="ctr">
            <a:solidFill>
              <a:sysClr val="windowText" lastClr="000000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30875024"/>
        <c:crosses val="autoZero"/>
        <c:auto val="1"/>
        <c:lblAlgn val="ctr"/>
        <c:lblOffset val="100"/>
        <c:tickLblSkip val="4"/>
        <c:noMultiLvlLbl val="0"/>
      </c:catAx>
      <c:valAx>
        <c:axId val="1530875024"/>
        <c:scaling>
          <c:orientation val="minMax"/>
        </c:scaling>
        <c:delete val="0"/>
        <c:axPos val="l"/>
        <c:numFmt formatCode="#,##0" sourceLinked="1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30870864"/>
        <c:crosses val="autoZero"/>
        <c:crossBetween val="between"/>
        <c:majorUnit val="10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108923884514431E-2"/>
          <c:y val="0.15682925051035287"/>
          <c:w val="0.87533552055993002"/>
          <c:h val="0.73577136191309422"/>
        </c:manualLayout>
      </c:layout>
      <c:barChart>
        <c:barDir val="col"/>
        <c:grouping val="clustered"/>
        <c:varyColors val="0"/>
        <c:ser>
          <c:idx val="0"/>
          <c:order val="0"/>
          <c:tx>
            <c:v>  Oktober 2020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19:$U$19</c:f>
              <c:strCache>
                <c:ptCount val="5"/>
                <c:pt idx="0">
                  <c:v>IF 16-6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20:$U$20</c:f>
              <c:numCache>
                <c:formatCode>General</c:formatCode>
                <c:ptCount val="5"/>
                <c:pt idx="0" formatCode="#,##0">
                  <c:v>19877</c:v>
                </c:pt>
                <c:pt idx="2" formatCode="#,##0">
                  <c:v>9543</c:v>
                </c:pt>
                <c:pt idx="3" formatCode="#,##0">
                  <c:v>4757</c:v>
                </c:pt>
                <c:pt idx="4" formatCode="#,##0">
                  <c:v>22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80-47B0-904B-4D99C3E622ED}"/>
            </c:ext>
          </c:extLst>
        </c:ser>
        <c:ser>
          <c:idx val="1"/>
          <c:order val="1"/>
          <c:tx>
            <c:v>  Oktober 2021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19:$U$19</c:f>
              <c:strCache>
                <c:ptCount val="5"/>
                <c:pt idx="0">
                  <c:v>IF 16-6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21:$U$21</c:f>
              <c:numCache>
                <c:formatCode>General</c:formatCode>
                <c:ptCount val="5"/>
                <c:pt idx="0" formatCode="#,##0">
                  <c:v>14207</c:v>
                </c:pt>
                <c:pt idx="2" formatCode="#,##0">
                  <c:v>8321</c:v>
                </c:pt>
                <c:pt idx="3" formatCode="#,##0">
                  <c:v>5638</c:v>
                </c:pt>
                <c:pt idx="4" formatCode="#,##0">
                  <c:v>2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80-47B0-904B-4D99C3E622ED}"/>
            </c:ext>
          </c:extLst>
        </c:ser>
        <c:ser>
          <c:idx val="2"/>
          <c:order val="2"/>
          <c:tx>
            <c:v>  Förändring årsbasis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19:$U$19</c:f>
              <c:strCache>
                <c:ptCount val="5"/>
                <c:pt idx="0">
                  <c:v>IF 16-6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22:$U$22</c:f>
              <c:numCache>
                <c:formatCode>General</c:formatCode>
                <c:ptCount val="5"/>
                <c:pt idx="0" formatCode="#,##0">
                  <c:v>-5670</c:v>
                </c:pt>
                <c:pt idx="2" formatCode="#,##0">
                  <c:v>-1222</c:v>
                </c:pt>
                <c:pt idx="3" formatCode="#,##0">
                  <c:v>881</c:v>
                </c:pt>
                <c:pt idx="4" formatCode="#,##0">
                  <c:v>3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80-47B0-904B-4D99C3E622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97395008"/>
        <c:axId val="1597392512"/>
      </c:barChart>
      <c:catAx>
        <c:axId val="1597395008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2512"/>
        <c:crosses val="autoZero"/>
        <c:auto val="1"/>
        <c:lblAlgn val="ctr"/>
        <c:lblOffset val="100"/>
        <c:noMultiLvlLbl val="0"/>
      </c:catAx>
      <c:valAx>
        <c:axId val="1597392512"/>
        <c:scaling>
          <c:orientation val="minMax"/>
          <c:max val="30000"/>
          <c:min val="-20000"/>
        </c:scaling>
        <c:delete val="0"/>
        <c:axPos val="l"/>
        <c:numFmt formatCode="#,##0" sourceLinked="1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5008"/>
        <c:crosses val="autoZero"/>
        <c:crossBetween val="between"/>
        <c:majorUnit val="100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396068376068375"/>
          <c:y val="2.3368055555555555E-2"/>
          <c:w val="0.76707874015748034"/>
          <c:h val="7.81255468066491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108923884514431E-2"/>
          <c:y val="0.15682925051035287"/>
          <c:w val="0.87533552055993002"/>
          <c:h val="0.73577136191309422"/>
        </c:manualLayout>
      </c:layout>
      <c:barChart>
        <c:barDir val="col"/>
        <c:grouping val="clustered"/>
        <c:varyColors val="0"/>
        <c:ser>
          <c:idx val="0"/>
          <c:order val="0"/>
          <c:tx>
            <c:v>  Oktober 2020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31:$U$31</c:f>
              <c:strCache>
                <c:ptCount val="5"/>
                <c:pt idx="0">
                  <c:v>UF 16-6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32:$U$32</c:f>
              <c:numCache>
                <c:formatCode>General</c:formatCode>
                <c:ptCount val="5"/>
                <c:pt idx="0" formatCode="#,##0">
                  <c:v>24254</c:v>
                </c:pt>
                <c:pt idx="2" formatCode="#,##0">
                  <c:v>15595</c:v>
                </c:pt>
                <c:pt idx="3" formatCode="#,##0">
                  <c:v>9722</c:v>
                </c:pt>
                <c:pt idx="4" formatCode="#,##0">
                  <c:v>5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AD-4D45-956D-DE94C5676A4E}"/>
            </c:ext>
          </c:extLst>
        </c:ser>
        <c:ser>
          <c:idx val="1"/>
          <c:order val="1"/>
          <c:tx>
            <c:v>  Oktober 2021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31:$U$31</c:f>
              <c:strCache>
                <c:ptCount val="5"/>
                <c:pt idx="0">
                  <c:v>UF 16-6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33:$U$33</c:f>
              <c:numCache>
                <c:formatCode>General</c:formatCode>
                <c:ptCount val="5"/>
                <c:pt idx="0" formatCode="#,##0">
                  <c:v>20686</c:v>
                </c:pt>
                <c:pt idx="2" formatCode="#,##0">
                  <c:v>14664</c:v>
                </c:pt>
                <c:pt idx="3" formatCode="#,##0">
                  <c:v>10883</c:v>
                </c:pt>
                <c:pt idx="4" formatCode="#,##0">
                  <c:v>57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AD-4D45-956D-DE94C5676A4E}"/>
            </c:ext>
          </c:extLst>
        </c:ser>
        <c:ser>
          <c:idx val="2"/>
          <c:order val="2"/>
          <c:tx>
            <c:v>  Förändring årsbasis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31:$U$31</c:f>
              <c:strCache>
                <c:ptCount val="5"/>
                <c:pt idx="0">
                  <c:v>UF 16-6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34:$U$34</c:f>
              <c:numCache>
                <c:formatCode>General</c:formatCode>
                <c:ptCount val="5"/>
                <c:pt idx="0" formatCode="#,##0">
                  <c:v>-3568</c:v>
                </c:pt>
                <c:pt idx="2" formatCode="#,##0">
                  <c:v>-931</c:v>
                </c:pt>
                <c:pt idx="3" formatCode="#,##0">
                  <c:v>1161</c:v>
                </c:pt>
                <c:pt idx="4" formatCode="#,##0">
                  <c:v>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1AD-4D45-956D-DE94C5676A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97395008"/>
        <c:axId val="1597392512"/>
      </c:barChart>
      <c:catAx>
        <c:axId val="1597395008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2512"/>
        <c:crosses val="autoZero"/>
        <c:auto val="1"/>
        <c:lblAlgn val="ctr"/>
        <c:lblOffset val="100"/>
        <c:noMultiLvlLbl val="0"/>
      </c:catAx>
      <c:valAx>
        <c:axId val="1597392512"/>
        <c:scaling>
          <c:orientation val="minMax"/>
          <c:min val="-20000"/>
        </c:scaling>
        <c:delete val="0"/>
        <c:axPos val="l"/>
        <c:numFmt formatCode="#,##0" sourceLinked="1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5008"/>
        <c:crosses val="autoZero"/>
        <c:crossBetween val="between"/>
        <c:majorUnit val="100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396068376068375"/>
          <c:y val="1.4548611111111111E-2"/>
          <c:w val="0.76707874015748034"/>
          <c:h val="7.81255468066491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108923884514431E-2"/>
          <c:y val="0.15682925051035287"/>
          <c:w val="0.87533552055993002"/>
          <c:h val="0.73577136191309422"/>
        </c:manualLayout>
      </c:layout>
      <c:barChart>
        <c:barDir val="col"/>
        <c:grouping val="clustered"/>
        <c:varyColors val="0"/>
        <c:ser>
          <c:idx val="0"/>
          <c:order val="0"/>
          <c:tx>
            <c:v>  Oktober 2020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7:$U$7</c:f>
              <c:strCache>
                <c:ptCount val="5"/>
                <c:pt idx="0">
                  <c:v>Totalt 16-6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8:$U$8</c:f>
              <c:numCache>
                <c:formatCode>General</c:formatCode>
                <c:ptCount val="5"/>
                <c:pt idx="0" formatCode="#,##0">
                  <c:v>44131</c:v>
                </c:pt>
                <c:pt idx="2" formatCode="#,##0">
                  <c:v>25138</c:v>
                </c:pt>
                <c:pt idx="3" formatCode="#,##0">
                  <c:v>14479</c:v>
                </c:pt>
                <c:pt idx="4" formatCode="#,##0">
                  <c:v>7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BB-4273-A41F-96FA9368A680}"/>
            </c:ext>
          </c:extLst>
        </c:ser>
        <c:ser>
          <c:idx val="1"/>
          <c:order val="1"/>
          <c:tx>
            <c:v>  Oktober 2021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7:$U$7</c:f>
              <c:strCache>
                <c:ptCount val="5"/>
                <c:pt idx="0">
                  <c:v>Totalt 16-6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9:$U$9</c:f>
              <c:numCache>
                <c:formatCode>General</c:formatCode>
                <c:ptCount val="5"/>
                <c:pt idx="0" formatCode="#,##0">
                  <c:v>34893</c:v>
                </c:pt>
                <c:pt idx="2" formatCode="#,##0">
                  <c:v>22985</c:v>
                </c:pt>
                <c:pt idx="3" formatCode="#,##0">
                  <c:v>16521</c:v>
                </c:pt>
                <c:pt idx="4" formatCode="#,##0">
                  <c:v>8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BB-4273-A41F-96FA9368A680}"/>
            </c:ext>
          </c:extLst>
        </c:ser>
        <c:ser>
          <c:idx val="2"/>
          <c:order val="2"/>
          <c:tx>
            <c:v>  Förändring årsbasis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7:$U$7</c:f>
              <c:strCache>
                <c:ptCount val="5"/>
                <c:pt idx="0">
                  <c:v>Totalt 16-6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10:$U$10</c:f>
              <c:numCache>
                <c:formatCode>General</c:formatCode>
                <c:ptCount val="5"/>
                <c:pt idx="0" formatCode="#,##0">
                  <c:v>-9238</c:v>
                </c:pt>
                <c:pt idx="2" formatCode="#,##0">
                  <c:v>-2153</c:v>
                </c:pt>
                <c:pt idx="3" formatCode="#,##0">
                  <c:v>2042</c:v>
                </c:pt>
                <c:pt idx="4" formatCode="#,##0">
                  <c:v>1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BB-4273-A41F-96FA9368A6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97395008"/>
        <c:axId val="1597392512"/>
      </c:barChart>
      <c:catAx>
        <c:axId val="1597395008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2512"/>
        <c:crosses val="autoZero"/>
        <c:auto val="1"/>
        <c:lblAlgn val="ctr"/>
        <c:lblOffset val="100"/>
        <c:noMultiLvlLbl val="0"/>
      </c:catAx>
      <c:valAx>
        <c:axId val="1597392512"/>
        <c:scaling>
          <c:orientation val="minMax"/>
          <c:max val="60000"/>
          <c:min val="-30000"/>
        </c:scaling>
        <c:delete val="0"/>
        <c:axPos val="l"/>
        <c:numFmt formatCode="#,##0" sourceLinked="1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5008"/>
        <c:crosses val="autoZero"/>
        <c:crossBetween val="between"/>
        <c:majorUnit val="100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396062992125981"/>
          <c:y val="2.7777777777777776E-2"/>
          <c:w val="0.76707874015748034"/>
          <c:h val="7.81255468066491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108923884514431E-2"/>
          <c:y val="0.15682925051035287"/>
          <c:w val="0.87533552055993002"/>
          <c:h val="0.73577136191309422"/>
        </c:manualLayout>
      </c:layout>
      <c:barChart>
        <c:barDir val="col"/>
        <c:grouping val="clustered"/>
        <c:varyColors val="0"/>
        <c:ser>
          <c:idx val="0"/>
          <c:order val="0"/>
          <c:tx>
            <c:v>  Oktober 2020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13:$U$13</c:f>
              <c:strCache>
                <c:ptCount val="5"/>
                <c:pt idx="0">
                  <c:v>Totalt 18-2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14:$U$14</c:f>
              <c:numCache>
                <c:formatCode>General</c:formatCode>
                <c:ptCount val="5"/>
                <c:pt idx="0" formatCode="#,##0">
                  <c:v>5681</c:v>
                </c:pt>
                <c:pt idx="2" formatCode="#,##0">
                  <c:v>1765</c:v>
                </c:pt>
                <c:pt idx="3" formatCode="#,##0">
                  <c:v>847</c:v>
                </c:pt>
                <c:pt idx="4" formatCode="#,##0">
                  <c:v>2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23-4637-9DD9-263446418915}"/>
            </c:ext>
          </c:extLst>
        </c:ser>
        <c:ser>
          <c:idx val="1"/>
          <c:order val="1"/>
          <c:tx>
            <c:v>  Oktober 2021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13:$U$13</c:f>
              <c:strCache>
                <c:ptCount val="5"/>
                <c:pt idx="0">
                  <c:v>Totalt 18-2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15:$U$15</c:f>
              <c:numCache>
                <c:formatCode>General</c:formatCode>
                <c:ptCount val="5"/>
                <c:pt idx="0" formatCode="#,##0">
                  <c:v>4099</c:v>
                </c:pt>
                <c:pt idx="2" formatCode="#,##0">
                  <c:v>1775</c:v>
                </c:pt>
                <c:pt idx="3" formatCode="#,##0">
                  <c:v>1005</c:v>
                </c:pt>
                <c:pt idx="4" formatCode="#,##0">
                  <c:v>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023-4637-9DD9-263446418915}"/>
            </c:ext>
          </c:extLst>
        </c:ser>
        <c:ser>
          <c:idx val="2"/>
          <c:order val="2"/>
          <c:tx>
            <c:v>  Förändring årsbasis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13:$U$13</c:f>
              <c:strCache>
                <c:ptCount val="5"/>
                <c:pt idx="0">
                  <c:v>Totalt 18-2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16:$U$16</c:f>
              <c:numCache>
                <c:formatCode>General</c:formatCode>
                <c:ptCount val="5"/>
                <c:pt idx="0" formatCode="#,##0">
                  <c:v>-1582</c:v>
                </c:pt>
                <c:pt idx="2" formatCode="#,##0">
                  <c:v>10</c:v>
                </c:pt>
                <c:pt idx="3" formatCode="#,##0">
                  <c:v>158</c:v>
                </c:pt>
                <c:pt idx="4" formatCode="#,##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23-4637-9DD9-2634464189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97395008"/>
        <c:axId val="1597392512"/>
      </c:barChart>
      <c:catAx>
        <c:axId val="1597395008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2512"/>
        <c:crosses val="autoZero"/>
        <c:auto val="1"/>
        <c:lblAlgn val="ctr"/>
        <c:lblOffset val="100"/>
        <c:noMultiLvlLbl val="0"/>
      </c:catAx>
      <c:valAx>
        <c:axId val="1597392512"/>
        <c:scaling>
          <c:orientation val="minMax"/>
          <c:min val="-6000"/>
        </c:scaling>
        <c:delete val="0"/>
        <c:axPos val="l"/>
        <c:numFmt formatCode="#,##0" sourceLinked="1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5008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396062992125981"/>
          <c:y val="2.7777777777777776E-2"/>
          <c:w val="0.76707874015748034"/>
          <c:h val="7.81255468066491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108923884514431E-2"/>
          <c:y val="0.15682925051035287"/>
          <c:w val="0.87533552055993002"/>
          <c:h val="0.73577136191309422"/>
        </c:manualLayout>
      </c:layout>
      <c:barChart>
        <c:barDir val="col"/>
        <c:grouping val="clustered"/>
        <c:varyColors val="0"/>
        <c:ser>
          <c:idx val="0"/>
          <c:order val="0"/>
          <c:tx>
            <c:v>  Oktober 2020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25:$U$25</c:f>
              <c:strCache>
                <c:ptCount val="5"/>
                <c:pt idx="0">
                  <c:v>IF 18-2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26:$U$26</c:f>
              <c:numCache>
                <c:formatCode>General</c:formatCode>
                <c:ptCount val="5"/>
                <c:pt idx="0" formatCode="#,##0">
                  <c:v>3480</c:v>
                </c:pt>
                <c:pt idx="2" formatCode="#,##0">
                  <c:v>863</c:v>
                </c:pt>
                <c:pt idx="3" formatCode="#,##0">
                  <c:v>357</c:v>
                </c:pt>
                <c:pt idx="4" formatCode="#,##0">
                  <c:v>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77-4AA1-BFC8-2C31ECB778DC}"/>
            </c:ext>
          </c:extLst>
        </c:ser>
        <c:ser>
          <c:idx val="1"/>
          <c:order val="1"/>
          <c:tx>
            <c:v>  Oktober 2021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25:$U$25</c:f>
              <c:strCache>
                <c:ptCount val="5"/>
                <c:pt idx="0">
                  <c:v>IF 18-2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27:$U$27</c:f>
              <c:numCache>
                <c:formatCode>General</c:formatCode>
                <c:ptCount val="5"/>
                <c:pt idx="0" formatCode="#,##0">
                  <c:v>2190</c:v>
                </c:pt>
                <c:pt idx="2" formatCode="#,##0">
                  <c:v>819</c:v>
                </c:pt>
                <c:pt idx="3" formatCode="#,##0">
                  <c:v>465</c:v>
                </c:pt>
                <c:pt idx="4" formatCode="#,##0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77-4AA1-BFC8-2C31ECB778DC}"/>
            </c:ext>
          </c:extLst>
        </c:ser>
        <c:ser>
          <c:idx val="2"/>
          <c:order val="2"/>
          <c:tx>
            <c:v>  Förändring årsbasis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25:$U$25</c:f>
              <c:strCache>
                <c:ptCount val="5"/>
                <c:pt idx="0">
                  <c:v>IF 18-2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28:$U$28</c:f>
              <c:numCache>
                <c:formatCode>General</c:formatCode>
                <c:ptCount val="5"/>
                <c:pt idx="0" formatCode="#,##0">
                  <c:v>-1290</c:v>
                </c:pt>
                <c:pt idx="2" formatCode="#,##0">
                  <c:v>-44</c:v>
                </c:pt>
                <c:pt idx="3" formatCode="#,##0">
                  <c:v>108</c:v>
                </c:pt>
                <c:pt idx="4" formatCode="#,##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77-4AA1-BFC8-2C31ECB778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97395008"/>
        <c:axId val="1597392512"/>
      </c:barChart>
      <c:catAx>
        <c:axId val="1597395008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2512"/>
        <c:crosses val="autoZero"/>
        <c:auto val="1"/>
        <c:lblAlgn val="ctr"/>
        <c:lblOffset val="100"/>
        <c:noMultiLvlLbl val="0"/>
      </c:catAx>
      <c:valAx>
        <c:axId val="1597392512"/>
        <c:scaling>
          <c:orientation val="minMax"/>
          <c:max val="6000"/>
          <c:min val="-4000"/>
        </c:scaling>
        <c:delete val="0"/>
        <c:axPos val="l"/>
        <c:numFmt formatCode="#,##0" sourceLinked="1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5008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396062992125981"/>
          <c:y val="2.7777777777777776E-2"/>
          <c:w val="0.76707874015748034"/>
          <c:h val="7.81255468066491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108923884514431E-2"/>
          <c:y val="0.15682925051035287"/>
          <c:w val="0.87533552055993002"/>
          <c:h val="0.73577136191309422"/>
        </c:manualLayout>
      </c:layout>
      <c:barChart>
        <c:barDir val="col"/>
        <c:grouping val="clustered"/>
        <c:varyColors val="0"/>
        <c:ser>
          <c:idx val="0"/>
          <c:order val="0"/>
          <c:tx>
            <c:v>  Oktober 2020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37:$U$37</c:f>
              <c:strCache>
                <c:ptCount val="5"/>
                <c:pt idx="0">
                  <c:v>UF 18-2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38:$U$38</c:f>
              <c:numCache>
                <c:formatCode>General</c:formatCode>
                <c:ptCount val="5"/>
                <c:pt idx="0" formatCode="#,##0">
                  <c:v>2201</c:v>
                </c:pt>
                <c:pt idx="2" formatCode="#,##0">
                  <c:v>902</c:v>
                </c:pt>
                <c:pt idx="3" formatCode="#,##0">
                  <c:v>490</c:v>
                </c:pt>
                <c:pt idx="4" formatCode="#,##0">
                  <c:v>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98-42D7-A064-5DD46CA5F56D}"/>
            </c:ext>
          </c:extLst>
        </c:ser>
        <c:ser>
          <c:idx val="1"/>
          <c:order val="1"/>
          <c:tx>
            <c:v>  Oktober 2021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37:$U$37</c:f>
              <c:strCache>
                <c:ptCount val="5"/>
                <c:pt idx="0">
                  <c:v>UF 18-2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39:$U$39</c:f>
              <c:numCache>
                <c:formatCode>General</c:formatCode>
                <c:ptCount val="5"/>
                <c:pt idx="0" formatCode="#,##0">
                  <c:v>1909</c:v>
                </c:pt>
                <c:pt idx="2" formatCode="#,##0">
                  <c:v>956</c:v>
                </c:pt>
                <c:pt idx="3" formatCode="#,##0">
                  <c:v>540</c:v>
                </c:pt>
                <c:pt idx="4" formatCode="#,##0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98-42D7-A064-5DD46CA5F56D}"/>
            </c:ext>
          </c:extLst>
        </c:ser>
        <c:ser>
          <c:idx val="2"/>
          <c:order val="2"/>
          <c:tx>
            <c:v>  Förändring årsbasis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betslösa!$Q$37:$U$37</c:f>
              <c:strCache>
                <c:ptCount val="5"/>
                <c:pt idx="0">
                  <c:v>UF 18-24 år</c:v>
                </c:pt>
                <c:pt idx="2">
                  <c:v>&gt;6 mån</c:v>
                </c:pt>
                <c:pt idx="3">
                  <c:v>&gt;12 mån</c:v>
                </c:pt>
                <c:pt idx="4">
                  <c:v>&gt;24 mån</c:v>
                </c:pt>
              </c:strCache>
            </c:strRef>
          </c:cat>
          <c:val>
            <c:numRef>
              <c:f>Arbetslösa!$Q$40:$U$40</c:f>
              <c:numCache>
                <c:formatCode>General</c:formatCode>
                <c:ptCount val="5"/>
                <c:pt idx="0" formatCode="#,##0">
                  <c:v>-292</c:v>
                </c:pt>
                <c:pt idx="2" formatCode="#,##0">
                  <c:v>54</c:v>
                </c:pt>
                <c:pt idx="3" formatCode="#,##0">
                  <c:v>50</c:v>
                </c:pt>
                <c:pt idx="4" formatCode="#,##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98-42D7-A064-5DD46CA5F5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97395008"/>
        <c:axId val="1597392512"/>
      </c:barChart>
      <c:catAx>
        <c:axId val="1597395008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2512"/>
        <c:crosses val="autoZero"/>
        <c:auto val="1"/>
        <c:lblAlgn val="ctr"/>
        <c:lblOffset val="100"/>
        <c:noMultiLvlLbl val="0"/>
      </c:catAx>
      <c:valAx>
        <c:axId val="1597392512"/>
        <c:scaling>
          <c:orientation val="minMax"/>
          <c:max val="6000"/>
          <c:min val="-4000"/>
        </c:scaling>
        <c:delete val="0"/>
        <c:axPos val="l"/>
        <c:numFmt formatCode="#,##0" sourceLinked="1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597395008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396062992125981"/>
          <c:y val="2.7777777777777776E-2"/>
          <c:w val="0.76707874015748034"/>
          <c:h val="7.81255468066491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8285</cdr:x>
      <cdr:y>0.20576</cdr:y>
    </cdr:from>
    <cdr:to>
      <cdr:x>0.89118</cdr:x>
      <cdr:y>0.29258</cdr:y>
    </cdr:to>
    <cdr:sp macro="" textlink="">
      <cdr:nvSpPr>
        <cdr:cNvPr id="2" name="textruta 1">
          <a:extLst xmlns:a="http://schemas.openxmlformats.org/drawingml/2006/main">
            <a:ext uri="{FF2B5EF4-FFF2-40B4-BE49-F238E27FC236}">
              <a16:creationId xmlns:a16="http://schemas.microsoft.com/office/drawing/2014/main" id="{22453D87-2F03-4524-A8D8-A295C6398857}"/>
            </a:ext>
          </a:extLst>
        </cdr:cNvPr>
        <cdr:cNvSpPr txBox="1"/>
      </cdr:nvSpPr>
      <cdr:spPr>
        <a:xfrm xmlns:a="http://schemas.openxmlformats.org/drawingml/2006/main">
          <a:off x="2607402" y="592603"/>
          <a:ext cx="2204982" cy="2500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sv-SE" sz="900">
              <a:latin typeface="Arial" panose="020B0604020202020204" pitchFamily="34" charset="0"/>
              <a:cs typeface="Arial" panose="020B0604020202020204" pitchFamily="34" charset="0"/>
            </a:rPr>
            <a:t>← därav</a:t>
          </a:r>
          <a:r>
            <a:rPr lang="sv-SE" sz="900" baseline="0">
              <a:latin typeface="Arial" panose="020B0604020202020204" pitchFamily="34" charset="0"/>
              <a:cs typeface="Arial" panose="020B0604020202020204" pitchFamily="34" charset="0"/>
            </a:rPr>
            <a:t> utan arbete i </a:t>
          </a:r>
          <a:r>
            <a:rPr lang="sv-SE" sz="900"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→</a:t>
          </a:r>
          <a:endParaRPr lang="sv-SE" sz="90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8814</cdr:x>
      <cdr:y>0.13281</cdr:y>
    </cdr:from>
    <cdr:to>
      <cdr:x>0.89647</cdr:x>
      <cdr:y>0.21963</cdr:y>
    </cdr:to>
    <cdr:sp macro="" textlink="">
      <cdr:nvSpPr>
        <cdr:cNvPr id="2" name="textruta 1">
          <a:extLst xmlns:a="http://schemas.openxmlformats.org/drawingml/2006/main">
            <a:ext uri="{FF2B5EF4-FFF2-40B4-BE49-F238E27FC236}">
              <a16:creationId xmlns:a16="http://schemas.microsoft.com/office/drawing/2014/main" id="{22453D87-2F03-4524-A8D8-A295C6398857}"/>
            </a:ext>
          </a:extLst>
        </cdr:cNvPr>
        <cdr:cNvSpPr txBox="1"/>
      </cdr:nvSpPr>
      <cdr:spPr>
        <a:xfrm xmlns:a="http://schemas.openxmlformats.org/drawingml/2006/main">
          <a:off x="2284495" y="382482"/>
          <a:ext cx="1910985" cy="2500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sv-SE" sz="900" dirty="0">
              <a:latin typeface="Arial" panose="020B0604020202020204" pitchFamily="34" charset="0"/>
              <a:cs typeface="Arial" panose="020B0604020202020204" pitchFamily="34" charset="0"/>
            </a:rPr>
            <a:t>← därav</a:t>
          </a:r>
          <a:r>
            <a:rPr lang="sv-SE" sz="900" baseline="0" dirty="0">
              <a:latin typeface="Arial" panose="020B0604020202020204" pitchFamily="34" charset="0"/>
              <a:cs typeface="Arial" panose="020B0604020202020204" pitchFamily="34" charset="0"/>
            </a:rPr>
            <a:t> utan arbete i </a:t>
          </a:r>
          <a:r>
            <a:rPr lang="sv-SE" sz="900" dirty="0"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→</a:t>
          </a:r>
          <a:endParaRPr lang="sv-SE" sz="9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8991</cdr:x>
      <cdr:y>0.16277</cdr:y>
    </cdr:from>
    <cdr:to>
      <cdr:x>0.89824</cdr:x>
      <cdr:y>0.24958</cdr:y>
    </cdr:to>
    <cdr:sp macro="" textlink="">
      <cdr:nvSpPr>
        <cdr:cNvPr id="2" name="textruta 1">
          <a:extLst xmlns:a="http://schemas.openxmlformats.org/drawingml/2006/main">
            <a:ext uri="{FF2B5EF4-FFF2-40B4-BE49-F238E27FC236}">
              <a16:creationId xmlns:a16="http://schemas.microsoft.com/office/drawing/2014/main" id="{22453D87-2F03-4524-A8D8-A295C6398857}"/>
            </a:ext>
          </a:extLst>
        </cdr:cNvPr>
        <cdr:cNvSpPr txBox="1"/>
      </cdr:nvSpPr>
      <cdr:spPr>
        <a:xfrm xmlns:a="http://schemas.openxmlformats.org/drawingml/2006/main">
          <a:off x="2645493" y="468773"/>
          <a:ext cx="2204982" cy="2500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sv-SE" sz="900">
              <a:latin typeface="Arial" panose="020B0604020202020204" pitchFamily="34" charset="0"/>
              <a:cs typeface="Arial" panose="020B0604020202020204" pitchFamily="34" charset="0"/>
            </a:rPr>
            <a:t>← därav</a:t>
          </a:r>
          <a:r>
            <a:rPr lang="sv-SE" sz="900" baseline="0">
              <a:latin typeface="Arial" panose="020B0604020202020204" pitchFamily="34" charset="0"/>
              <a:cs typeface="Arial" panose="020B0604020202020204" pitchFamily="34" charset="0"/>
            </a:rPr>
            <a:t> utan arbete i </a:t>
          </a:r>
          <a:r>
            <a:rPr lang="sv-SE" sz="900"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→</a:t>
          </a:r>
          <a:endParaRPr lang="sv-SE" sz="90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8638</cdr:x>
      <cdr:y>0.26199</cdr:y>
    </cdr:from>
    <cdr:to>
      <cdr:x>0.89471</cdr:x>
      <cdr:y>0.3488</cdr:y>
    </cdr:to>
    <cdr:sp macro="" textlink="">
      <cdr:nvSpPr>
        <cdr:cNvPr id="2" name="textruta 1">
          <a:extLst xmlns:a="http://schemas.openxmlformats.org/drawingml/2006/main">
            <a:ext uri="{FF2B5EF4-FFF2-40B4-BE49-F238E27FC236}">
              <a16:creationId xmlns:a16="http://schemas.microsoft.com/office/drawing/2014/main" id="{22453D87-2F03-4524-A8D8-A295C6398857}"/>
            </a:ext>
          </a:extLst>
        </cdr:cNvPr>
        <cdr:cNvSpPr txBox="1"/>
      </cdr:nvSpPr>
      <cdr:spPr>
        <a:xfrm xmlns:a="http://schemas.openxmlformats.org/drawingml/2006/main">
          <a:off x="2626464" y="754528"/>
          <a:ext cx="2204982" cy="2500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sv-SE" sz="900">
              <a:latin typeface="Arial" panose="020B0604020202020204" pitchFamily="34" charset="0"/>
              <a:cs typeface="Arial" panose="020B0604020202020204" pitchFamily="34" charset="0"/>
            </a:rPr>
            <a:t>← därav</a:t>
          </a:r>
          <a:r>
            <a:rPr lang="sv-SE" sz="900" baseline="0">
              <a:latin typeface="Arial" panose="020B0604020202020204" pitchFamily="34" charset="0"/>
              <a:cs typeface="Arial" panose="020B0604020202020204" pitchFamily="34" charset="0"/>
            </a:rPr>
            <a:t> utan arbete i </a:t>
          </a:r>
          <a:r>
            <a:rPr lang="sv-SE" sz="900"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→</a:t>
          </a:r>
          <a:endParaRPr lang="sv-SE" sz="90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47756</cdr:x>
      <cdr:y>0.30829</cdr:y>
    </cdr:from>
    <cdr:to>
      <cdr:x>0.88589</cdr:x>
      <cdr:y>0.39511</cdr:y>
    </cdr:to>
    <cdr:sp macro="" textlink="">
      <cdr:nvSpPr>
        <cdr:cNvPr id="2" name="textruta 1">
          <a:extLst xmlns:a="http://schemas.openxmlformats.org/drawingml/2006/main">
            <a:ext uri="{FF2B5EF4-FFF2-40B4-BE49-F238E27FC236}">
              <a16:creationId xmlns:a16="http://schemas.microsoft.com/office/drawing/2014/main" id="{22453D87-2F03-4524-A8D8-A295C6398857}"/>
            </a:ext>
          </a:extLst>
        </cdr:cNvPr>
        <cdr:cNvSpPr txBox="1"/>
      </cdr:nvSpPr>
      <cdr:spPr>
        <a:xfrm xmlns:a="http://schemas.openxmlformats.org/drawingml/2006/main">
          <a:off x="2578815" y="887864"/>
          <a:ext cx="2204982" cy="2500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sv-SE" sz="900">
              <a:latin typeface="Arial" panose="020B0604020202020204" pitchFamily="34" charset="0"/>
              <a:cs typeface="Arial" panose="020B0604020202020204" pitchFamily="34" charset="0"/>
            </a:rPr>
            <a:t>← därav</a:t>
          </a:r>
          <a:r>
            <a:rPr lang="sv-SE" sz="900" baseline="0">
              <a:latin typeface="Arial" panose="020B0604020202020204" pitchFamily="34" charset="0"/>
              <a:cs typeface="Arial" panose="020B0604020202020204" pitchFamily="34" charset="0"/>
            </a:rPr>
            <a:t> utan arbete i </a:t>
          </a:r>
          <a:r>
            <a:rPr lang="sv-SE" sz="900"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→</a:t>
          </a:r>
          <a:endParaRPr lang="sv-SE" sz="90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49167</cdr:x>
      <cdr:y>0.25868</cdr:y>
    </cdr:from>
    <cdr:to>
      <cdr:x>0.9</cdr:x>
      <cdr:y>0.34549</cdr:y>
    </cdr:to>
    <cdr:sp macro="" textlink="">
      <cdr:nvSpPr>
        <cdr:cNvPr id="2" name="textruta 1">
          <a:extLst xmlns:a="http://schemas.openxmlformats.org/drawingml/2006/main">
            <a:ext uri="{FF2B5EF4-FFF2-40B4-BE49-F238E27FC236}">
              <a16:creationId xmlns:a16="http://schemas.microsoft.com/office/drawing/2014/main" id="{22453D87-2F03-4524-A8D8-A295C6398857}"/>
            </a:ext>
          </a:extLst>
        </cdr:cNvPr>
        <cdr:cNvSpPr txBox="1"/>
      </cdr:nvSpPr>
      <cdr:spPr>
        <a:xfrm xmlns:a="http://schemas.openxmlformats.org/drawingml/2006/main">
          <a:off x="2247900" y="709613"/>
          <a:ext cx="1866900" cy="2381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sv-SE" sz="900">
              <a:latin typeface="Arial" panose="020B0604020202020204" pitchFamily="34" charset="0"/>
              <a:cs typeface="Arial" panose="020B0604020202020204" pitchFamily="34" charset="0"/>
            </a:rPr>
            <a:t>← därav</a:t>
          </a:r>
          <a:r>
            <a:rPr lang="sv-SE" sz="900" baseline="0">
              <a:latin typeface="Arial" panose="020B0604020202020204" pitchFamily="34" charset="0"/>
              <a:cs typeface="Arial" panose="020B0604020202020204" pitchFamily="34" charset="0"/>
            </a:rPr>
            <a:t> utan arbete i </a:t>
          </a:r>
          <a:r>
            <a:rPr lang="sv-SE" sz="900"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→</a:t>
          </a:r>
          <a:endParaRPr lang="sv-SE" sz="90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EFF19A59-27F9-4D5F-9A78-1FC2D7C74F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8D38353-3320-4759-A856-8610AED92F8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FAE3B6-AEA4-4DC4-B259-3E020BC8A997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BA7833C-64F9-479A-BDC1-F7DCD37721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9C70AB4-7108-4933-9391-A40CBA53144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07C9C1-1246-4EFC-8BB5-51B2293CCC1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790878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679449" y="154506"/>
            <a:ext cx="54387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ctr">
              <a:defRPr sz="1200"/>
            </a:lvl1pPr>
          </a:lstStyle>
          <a:p>
            <a:r>
              <a:rPr lang="sv-SE"/>
              <a:t>Presentation för enbart de smartase</a:t>
            </a:r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682848" y="9275244"/>
            <a:ext cx="1473201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DDAD3D5C-A49C-4E6B-A239-B4E9EA73BA38}" type="datetimeFigureOut">
              <a:rPr lang="en-GB" smtClean="0"/>
              <a:pPr/>
              <a:t>15/11/2021</a:t>
            </a:fld>
            <a:endParaRPr lang="en-GB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79450" y="1241425"/>
            <a:ext cx="5438775" cy="306021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2662237" y="9275244"/>
            <a:ext cx="14732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/>
            </a:lvl1pPr>
          </a:lstStyle>
          <a:p>
            <a:fld id="{AC497CE8-006A-4D39-B790-B2C157C2517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715D6FA-7C00-492E-B2A9-CE3FF8084C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888" y="908913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84932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1AA035A1-4F7F-49DA-A856-F85B86D7186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3571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7FBE0D7C-F6A7-4728-BEAD-35B1282BA2E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1256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624DF18A-D69A-4574-944C-06427C8DA6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7919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3496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95839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43AAF0FB-5C31-4B7A-B3F0-735ECFED13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14F623A5-22C3-402C-9416-7106F1109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7287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67994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En bild som visar himmel, utomhus, flera&#10;&#10;Automatiskt genererad beskrivning">
            <a:extLst>
              <a:ext uri="{FF2B5EF4-FFF2-40B4-BE49-F238E27FC236}">
                <a16:creationId xmlns:a16="http://schemas.microsoft.com/office/drawing/2014/main" id="{AB68B31A-1E54-4F66-A3F8-68DCC3EA20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" y="0"/>
            <a:ext cx="12190588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73514" y="551915"/>
            <a:ext cx="1846734" cy="1612020"/>
          </a:xfrm>
          <a:prstGeom prst="hexagon">
            <a:avLst/>
          </a:prstGeom>
          <a:solidFill>
            <a:schemeClr val="accent5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1938311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6951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FBA023CF-467C-4D38-BFA6-84375E92AF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415" r="-14415"/>
          <a:stretch/>
        </p:blipFill>
        <p:spPr>
          <a:xfrm flipH="1">
            <a:off x="254000" y="0"/>
            <a:ext cx="119380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736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 descr="En bild som visar utomhus, byggnad, stad&#10;&#10;Automatiskt genererad beskrivning">
            <a:extLst>
              <a:ext uri="{FF2B5EF4-FFF2-40B4-BE49-F238E27FC236}">
                <a16:creationId xmlns:a16="http://schemas.microsoft.com/office/drawing/2014/main" id="{BE3F0BD8-A8DC-4282-8554-9C0889C89F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4" r="63727"/>
          <a:stretch/>
        </p:blipFill>
        <p:spPr>
          <a:xfrm>
            <a:off x="7876515" y="0"/>
            <a:ext cx="4315485" cy="6858000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738DFB51-23EE-4FE2-9655-A0261880D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4069" r="14149"/>
          <a:stretch/>
        </p:blipFill>
        <p:spPr>
          <a:xfrm>
            <a:off x="-92075" y="0"/>
            <a:ext cx="4987925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 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Datum</a:t>
            </a:r>
            <a:endParaRPr lang="en-GB" dirty="0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9122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DEAE3C80-AB60-4336-8EF3-A47597D4B9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3171226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0231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848955C-00EC-4B47-BC95-A26380F7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65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objekt 9">
            <a:extLst>
              <a:ext uri="{FF2B5EF4-FFF2-40B4-BE49-F238E27FC236}">
                <a16:creationId xmlns:a16="http://schemas.microsoft.com/office/drawing/2014/main" id="{EDAC6DE7-C488-486A-870E-7B1A10059F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578" r="17582"/>
          <a:stretch/>
        </p:blipFill>
        <p:spPr>
          <a:xfrm>
            <a:off x="-7617" y="0"/>
            <a:ext cx="5114303" cy="6858000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A2FA2507-FD7A-476A-A8DE-07D12DA676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46995" r="16850"/>
          <a:stretch/>
        </p:blipFill>
        <p:spPr>
          <a:xfrm>
            <a:off x="7953375" y="0"/>
            <a:ext cx="4316167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7E16920A-42C5-4BBF-91CA-6A655E0FCEF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 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 dirty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 dirty="0">
                <a:solidFill>
                  <a:schemeClr val="bg1"/>
                </a:solidFill>
              </a:rPr>
            </a:br>
            <a:r>
              <a:rPr lang="sv-SE" sz="1100" cap="all" baseline="0" dirty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8954237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objekt 3">
            <a:extLst>
              <a:ext uri="{FF2B5EF4-FFF2-40B4-BE49-F238E27FC236}">
                <a16:creationId xmlns:a16="http://schemas.microsoft.com/office/drawing/2014/main" id="{73964CDB-FAD0-4FDE-A2BA-7488AA830DC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 dirty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2330963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9175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484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21009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8890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9631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rgbClr val="8FB8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249A26DA-9AA1-4E87-8115-CF8413A69C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262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BDD1F87-5733-4739-8F6C-0C15C678A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DF83555-6640-457A-A3EC-169EEFFCF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9676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F242134-2D76-4DCB-88C7-19CDE0CE5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59186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262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 text vänst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8534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9159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287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CAADFD81-8A4D-4B19-AB85-21FD9D7DBA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85626E8B-2171-41E8-8EDA-1BEF72CF26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4269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6449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C489BE3-1DB9-4564-856D-F1DF541A1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99008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B315424-357B-4647-888E-3606002F18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4058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71946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7DB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2CCB681-7F37-424C-9893-04F3F63AAC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880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81B07E8F-F509-4FA1-8C96-D504CBD40A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936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B6958F0-2A15-44E3-B238-6754FB35F1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EE7F9D6-9680-4FEE-BDE5-3645DFD6CF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68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7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9484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rgbClr val="36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78AB7606-988D-42F0-A656-62DDF5F76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64156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7901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214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7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16CDB862-2D7B-473E-BC6D-F8CFA5DF24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47600C6A-5AEB-42FC-9C76-61FCED2A1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12901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- grön bakgrund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2CF58E-6A96-427D-B83E-8C1C7F34A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42CF58E-6A96-427D-B83E-8C1C7F34A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3BB832D-2F8A-4212-9AA6-80C81A7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5BD0D28-8257-411C-A4F5-4F7A65B2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A82BA86-F103-445E-8AF8-CA1FC78BE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5B72E5-A9F6-4004-93E2-00E7D2AA4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Platshållare för text 6">
            <a:extLst>
              <a:ext uri="{FF2B5EF4-FFF2-40B4-BE49-F238E27FC236}">
                <a16:creationId xmlns:a16="http://schemas.microsoft.com/office/drawing/2014/main" id="{FA72975F-042F-4A27-95B7-63D21802D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F6C48746-5ED4-4CEC-8584-96AB5D8BE2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text 10">
            <a:extLst>
              <a:ext uri="{FF2B5EF4-FFF2-40B4-BE49-F238E27FC236}">
                <a16:creationId xmlns:a16="http://schemas.microsoft.com/office/drawing/2014/main" id="{AF2B12CA-0007-473E-A64C-2D1A7EFAF7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3B340376-58C1-4BB6-AE6F-FDDF0F24DB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0346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6222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06150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08454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70164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EAB39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97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161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77392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-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63DCFB90-2099-4E45-A3FF-36433E1862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3">
            <a:extLst>
              <a:ext uri="{FF2B5EF4-FFF2-40B4-BE49-F238E27FC236}">
                <a16:creationId xmlns:a16="http://schemas.microsoft.com/office/drawing/2014/main" id="{BFB4AC46-A5E0-4B65-ADA2-84709A1936A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0484F44F-6965-44F8-BDD5-1D42F5166A8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Platshållare för innehåll 3">
            <a:extLst>
              <a:ext uri="{FF2B5EF4-FFF2-40B4-BE49-F238E27FC236}">
                <a16:creationId xmlns:a16="http://schemas.microsoft.com/office/drawing/2014/main" id="{8600C9DA-D5E7-4933-B9D6-4F5696F1337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5607869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4298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38EE0AEC-80F2-495B-A4B7-E8970ECFE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61620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D4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94742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EAE1345A-7B66-4024-AC86-89BEC265F3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Rubrik 1">
            <a:extLst>
              <a:ext uri="{FF2B5EF4-FFF2-40B4-BE49-F238E27FC236}">
                <a16:creationId xmlns:a16="http://schemas.microsoft.com/office/drawing/2014/main" id="{60FBC1D3-6E1F-4CC8-BA73-3479F89032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1597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- röd bakgrund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2CF58E-6A96-427D-B83E-8C1C7F34A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215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3BB832D-2F8A-4212-9AA6-80C81A7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5BD0D28-8257-411C-A4F5-4F7A65B2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A82BA86-F103-445E-8AF8-CA1FC78BE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5B72E5-A9F6-4004-93E2-00E7D2AA4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Platshållare för text 6">
            <a:extLst>
              <a:ext uri="{FF2B5EF4-FFF2-40B4-BE49-F238E27FC236}">
                <a16:creationId xmlns:a16="http://schemas.microsoft.com/office/drawing/2014/main" id="{FA72975F-042F-4A27-95B7-63D21802D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F6C48746-5ED4-4CEC-8584-96AB5D8BE2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text 10">
            <a:extLst>
              <a:ext uri="{FF2B5EF4-FFF2-40B4-BE49-F238E27FC236}">
                <a16:creationId xmlns:a16="http://schemas.microsoft.com/office/drawing/2014/main" id="{AF2B12CA-0007-473E-A64C-2D1A7EFAF7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3B340376-58C1-4BB6-AE6F-FDDF0F24DB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7974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06F418A7-6BF2-42AF-9489-F08EBD3AE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7832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023358FC-B3BC-4DF1-8DBF-6E0CE8A7C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5740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0E0DD7C-63F4-4A96-9728-26D858125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6056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 1">
            <a:extLst>
              <a:ext uri="{FF2B5EF4-FFF2-40B4-BE49-F238E27FC236}">
                <a16:creationId xmlns:a16="http://schemas.microsoft.com/office/drawing/2014/main" id="{F041DA1A-C1EC-4B7A-8CEB-C7C3766F14FD}"/>
              </a:ext>
            </a:extLst>
          </p:cNvPr>
          <p:cNvGrpSpPr/>
          <p:nvPr userDrawn="1"/>
        </p:nvGrpSpPr>
        <p:grpSpPr>
          <a:xfrm>
            <a:off x="0" y="3429000"/>
            <a:ext cx="12192000" cy="3429000"/>
            <a:chOff x="0" y="3429000"/>
            <a:chExt cx="11147079" cy="3429000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F8C60DCD-261B-490D-B3A4-701A00466BCF}"/>
                </a:ext>
              </a:extLst>
            </p:cNvPr>
            <p:cNvSpPr/>
            <p:nvPr userDrawn="1"/>
          </p:nvSpPr>
          <p:spPr>
            <a:xfrm>
              <a:off x="0" y="3429000"/>
              <a:ext cx="3715693" cy="3429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0A853BC8-B293-4F35-A125-5F1572EBE207}"/>
                </a:ext>
              </a:extLst>
            </p:cNvPr>
            <p:cNvSpPr/>
            <p:nvPr userDrawn="1"/>
          </p:nvSpPr>
          <p:spPr>
            <a:xfrm>
              <a:off x="7431386" y="3429000"/>
              <a:ext cx="3715693" cy="3429000"/>
            </a:xfrm>
            <a:prstGeom prst="rect">
              <a:avLst/>
            </a:prstGeom>
            <a:solidFill>
              <a:srgbClr val="E5ED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CB18A62A-A023-484F-89AF-42129BA6C713}"/>
                </a:ext>
              </a:extLst>
            </p:cNvPr>
            <p:cNvSpPr/>
            <p:nvPr userDrawn="1"/>
          </p:nvSpPr>
          <p:spPr>
            <a:xfrm>
              <a:off x="3715693" y="3429000"/>
              <a:ext cx="3715693" cy="3429000"/>
            </a:xfrm>
            <a:prstGeom prst="rect">
              <a:avLst/>
            </a:prstGeom>
            <a:solidFill>
              <a:srgbClr val="F7E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D1A5460-A635-4EB6-8F12-2D7CD0A5E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1613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301845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68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4571078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8C4EFF6E-2525-42AC-AF27-D26AAEC25D67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2096203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730C5BC1-BC93-4CC9-BDC9-D55B21E3D24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1373713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, </a:t>
            </a:r>
            <a:r>
              <a:rPr lang="en-GB" dirty="0" err="1"/>
              <a:t>gå</a:t>
            </a:r>
            <a:r>
              <a:rPr lang="en-GB" dirty="0"/>
              <a:t> in under </a:t>
            </a:r>
            <a:r>
              <a:rPr lang="en-GB" dirty="0" err="1"/>
              <a:t>Infoga</a:t>
            </a:r>
            <a:r>
              <a:rPr lang="en-GB" dirty="0"/>
              <a:t>, </a:t>
            </a:r>
            <a:r>
              <a:rPr lang="en-GB" dirty="0" err="1"/>
              <a:t>Bild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välj</a:t>
            </a:r>
            <a:r>
              <a:rPr lang="en-GB" dirty="0"/>
              <a:t> </a:t>
            </a:r>
            <a:r>
              <a:rPr lang="en-GB" dirty="0" err="1"/>
              <a:t>önskad</a:t>
            </a:r>
            <a:r>
              <a:rPr lang="en-GB" dirty="0"/>
              <a:t> </a:t>
            </a:r>
            <a:r>
              <a:rPr lang="en-GB" dirty="0" err="1"/>
              <a:t>bild</a:t>
            </a:r>
            <a:r>
              <a:rPr lang="en-GB" dirty="0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470E8E88-3F9E-4AC5-B857-482E7D843E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0382378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, </a:t>
            </a:r>
            <a:r>
              <a:rPr lang="en-GB" dirty="0" err="1"/>
              <a:t>gå</a:t>
            </a:r>
            <a:r>
              <a:rPr lang="en-GB" dirty="0"/>
              <a:t> in under </a:t>
            </a:r>
            <a:r>
              <a:rPr lang="en-GB" dirty="0" err="1"/>
              <a:t>Infoga</a:t>
            </a:r>
            <a:r>
              <a:rPr lang="en-GB" dirty="0"/>
              <a:t>, </a:t>
            </a:r>
            <a:r>
              <a:rPr lang="en-GB" dirty="0" err="1"/>
              <a:t>Bild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välj</a:t>
            </a:r>
            <a:r>
              <a:rPr lang="en-GB" dirty="0"/>
              <a:t> </a:t>
            </a:r>
            <a:r>
              <a:rPr lang="en-GB" dirty="0" err="1"/>
              <a:t>önskad</a:t>
            </a:r>
            <a:r>
              <a:rPr lang="en-GB" dirty="0"/>
              <a:t> </a:t>
            </a:r>
            <a:r>
              <a:rPr lang="en-GB" dirty="0" err="1"/>
              <a:t>bild</a:t>
            </a:r>
            <a:r>
              <a:rPr lang="en-GB" dirty="0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2BA66C1B-5994-4ACD-AD12-24E33C487B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725779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3891603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CD566EE3-75D9-4E00-9E54-09F600894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27545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9D9C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B3DE43E-CD15-4F72-92CB-15F9868575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012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5587154-BD2A-4F12-8229-6CAEFE689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150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781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4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heme" Target="../theme/theme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44.xml"/><Relationship Id="rId16" Type="http://schemas.openxmlformats.org/officeDocument/2006/relationships/tags" Target="../tags/tag1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52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vmlDrawing" Target="../drawings/vmlDrawing7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oleObject" Target="../embeddings/oleObject9.bin"/><Relationship Id="rId5" Type="http://schemas.openxmlformats.org/officeDocument/2006/relationships/slideLayout" Target="../slideLayouts/slideLayout59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58.xml"/><Relationship Id="rId9" Type="http://schemas.openxmlformats.org/officeDocument/2006/relationships/tags" Target="../tags/tag1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65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64.xml"/><Relationship Id="rId9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1262A14-C18A-43AD-8174-EA6D5AC8A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05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24" imgW="498" imgH="499" progId="TCLayout.ActiveDocument.1">
                  <p:embed/>
                </p:oleObj>
              </mc:Choice>
              <mc:Fallback>
                <p:oleObj name="think-cell Slide" r:id="rId2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9D2BCF4-8713-4980-86F1-4C71D0C542E6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5/11/2021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735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760" r:id="rId5"/>
    <p:sldLayoutId id="2147483661" r:id="rId6"/>
    <p:sldLayoutId id="2147483733" r:id="rId7"/>
    <p:sldLayoutId id="2147483651" r:id="rId8"/>
    <p:sldLayoutId id="2147483698" r:id="rId9"/>
    <p:sldLayoutId id="2147483707" r:id="rId10"/>
    <p:sldLayoutId id="2147483711" r:id="rId11"/>
    <p:sldLayoutId id="2147483699" r:id="rId12"/>
    <p:sldLayoutId id="2147483658" r:id="rId13"/>
    <p:sldLayoutId id="2147483762" r:id="rId14"/>
    <p:sldLayoutId id="2147483657" r:id="rId15"/>
    <p:sldLayoutId id="2147483656" r:id="rId16"/>
    <p:sldLayoutId id="2147483761" r:id="rId17"/>
    <p:sldLayoutId id="2147483750" r:id="rId18"/>
    <p:sldLayoutId id="2147483749" r:id="rId19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7151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58B59F1-F599-42EA-B0AF-D694CD5566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064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16" imgW="498" imgH="499" progId="TCLayout.ActiveDocument.1">
                  <p:embed/>
                </p:oleObj>
              </mc:Choice>
              <mc:Fallback>
                <p:oleObj name="think-cell Slide" r:id="rId16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61D218C-849D-494C-AA25-56222077AB8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5BF98D-74DA-45EB-8556-36CEC6EE7E32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7" r:id="rId3"/>
    <p:sldLayoutId id="2147483759" r:id="rId4"/>
    <p:sldLayoutId id="2147483669" r:id="rId5"/>
    <p:sldLayoutId id="2147483734" r:id="rId6"/>
    <p:sldLayoutId id="2147483680" r:id="rId7"/>
    <p:sldLayoutId id="2147483704" r:id="rId8"/>
    <p:sldLayoutId id="2147483708" r:id="rId9"/>
    <p:sldLayoutId id="2147483712" r:id="rId10"/>
    <p:sldLayoutId id="2147483700" r:id="rId1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A5776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55B9FB1-673E-4FA5-AEAD-234B05B540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3040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17" imgW="498" imgH="499" progId="TCLayout.ActiveDocument.1">
                  <p:embed/>
                </p:oleObj>
              </mc:Choice>
              <mc:Fallback>
                <p:oleObj name="think-cell Slide" r:id="rId17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E36DAA-5B8C-4FD8-9ADA-0B562E8D967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6234A4E-2E63-428D-8582-E187BE2192E6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1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5" r:id="rId3"/>
    <p:sldLayoutId id="2147483758" r:id="rId4"/>
    <p:sldLayoutId id="2147483687" r:id="rId5"/>
    <p:sldLayoutId id="2147483735" r:id="rId6"/>
    <p:sldLayoutId id="2147483688" r:id="rId7"/>
    <p:sldLayoutId id="2147483705" r:id="rId8"/>
    <p:sldLayoutId id="2147483709" r:id="rId9"/>
    <p:sldLayoutId id="2147483713" r:id="rId10"/>
    <p:sldLayoutId id="2147483701" r:id="rId11"/>
    <p:sldLayoutId id="2147483756" r:id="rId1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6646B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4A3FDFF-44E2-4DA6-9568-D290BF6D0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58973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17" imgW="498" imgH="499" progId="TCLayout.ActiveDocument.1">
                  <p:embed/>
                </p:oleObj>
              </mc:Choice>
              <mc:Fallback>
                <p:oleObj name="think-cell Slide" r:id="rId17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8C408F-CA11-4557-97D3-0875DA17FC6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5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2" y="6356350"/>
            <a:ext cx="19002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7A6DA15-5310-45AE-9C3A-6144A4E88348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8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3" r:id="rId3"/>
    <p:sldLayoutId id="2147483757" r:id="rId4"/>
    <p:sldLayoutId id="2147483695" r:id="rId5"/>
    <p:sldLayoutId id="2147483736" r:id="rId6"/>
    <p:sldLayoutId id="2147483696" r:id="rId7"/>
    <p:sldLayoutId id="2147483706" r:id="rId8"/>
    <p:sldLayoutId id="2147483710" r:id="rId9"/>
    <p:sldLayoutId id="2147483714" r:id="rId10"/>
    <p:sldLayoutId id="2147483702" r:id="rId11"/>
    <p:sldLayoutId id="2147483755" r:id="rId1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755514C-7FB5-4E02-9230-89025535B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0281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11" imgW="498" imgH="499" progId="TCLayout.ActiveDocument.1">
                  <p:embed/>
                </p:oleObj>
              </mc:Choice>
              <mc:Fallback>
                <p:oleObj name="think-cell Slide" r:id="rId11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5F98DF9-27EF-4B30-BAE6-286812BD8814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5/11/2021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D02E4AD-1E16-46A9-AEF5-671B55EA89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51" r:id="rId5"/>
    <p:sldLayoutId id="2147483752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13B6D05-AFBD-40D4-9D39-D8FE6B7DAB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0522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11" imgW="498" imgH="499" progId="TCLayout.ActiveDocument.1">
                  <p:embed/>
                </p:oleObj>
              </mc:Choice>
              <mc:Fallback>
                <p:oleObj name="think-cell Slide" r:id="rId11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A1DBC44-64F2-4BF5-89EB-3AAF3875D46E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051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5/11/2021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25CC76DD-CCDD-4DDF-BA02-83CDDFB9D5B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09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2" r:id="rId3"/>
    <p:sldLayoutId id="2147483747" r:id="rId4"/>
    <p:sldLayoutId id="2147483743" r:id="rId5"/>
    <p:sldLayoutId id="2147483748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7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9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2.png"/><Relationship Id="rId4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2.png"/><Relationship Id="rId4" Type="http://schemas.openxmlformats.org/officeDocument/2006/relationships/chart" Target="../charts/char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EFF06E5-5510-4A62-BAAF-EF7C4578E1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19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C2D11704-4583-439B-A0B1-F84B07865A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Peter Warda</a:t>
            </a:r>
          </a:p>
          <a:p>
            <a:r>
              <a:rPr lang="sv-SE" dirty="0"/>
              <a:t>Senior analytiker </a:t>
            </a:r>
            <a:r>
              <a:rPr lang="sv-SE" dirty="0" err="1"/>
              <a:t>ph.d</a:t>
            </a:r>
            <a:endParaRPr lang="sv-SE" dirty="0"/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C7AA6C2C-450F-4273-A9EB-FEBCC38DF59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Arbetslöshet</a:t>
            </a:r>
            <a:br>
              <a:rPr lang="sv-SE" dirty="0"/>
            </a:br>
            <a:r>
              <a:rPr lang="sv-SE" sz="2400" dirty="0"/>
              <a:t>en nulägesanalys efter varaktighet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415292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ruta 13">
            <a:extLst>
              <a:ext uri="{FF2B5EF4-FFF2-40B4-BE49-F238E27FC236}">
                <a16:creationId xmlns:a16="http://schemas.microsoft.com/office/drawing/2014/main" id="{3237B987-7A7C-4B46-B1D6-509122413F78}"/>
              </a:ext>
            </a:extLst>
          </p:cNvPr>
          <p:cNvSpPr txBox="1"/>
          <p:nvPr/>
        </p:nvSpPr>
        <p:spPr>
          <a:xfrm>
            <a:off x="800100" y="633681"/>
            <a:ext cx="105219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600" b="1" dirty="0">
                <a:solidFill>
                  <a:schemeClr val="tx2"/>
                </a:solidFill>
              </a:rPr>
              <a:t>Sammanfattning</a:t>
            </a:r>
          </a:p>
        </p:txBody>
      </p:sp>
      <p:grpSp>
        <p:nvGrpSpPr>
          <p:cNvPr id="12" name="Grupp 11">
            <a:extLst>
              <a:ext uri="{FF2B5EF4-FFF2-40B4-BE49-F238E27FC236}">
                <a16:creationId xmlns:a16="http://schemas.microsoft.com/office/drawing/2014/main" id="{99121780-F71C-412E-A8AD-2FEFE84A87D1}"/>
              </a:ext>
            </a:extLst>
          </p:cNvPr>
          <p:cNvGrpSpPr/>
          <p:nvPr/>
        </p:nvGrpSpPr>
        <p:grpSpPr>
          <a:xfrm>
            <a:off x="1397330" y="1425037"/>
            <a:ext cx="9397340" cy="4221680"/>
            <a:chOff x="914398" y="1425036"/>
            <a:chExt cx="9397340" cy="4221680"/>
          </a:xfrm>
        </p:grpSpPr>
        <p:sp>
          <p:nvSpPr>
            <p:cNvPr id="10" name="Rektangel 9">
              <a:extLst>
                <a:ext uri="{FF2B5EF4-FFF2-40B4-BE49-F238E27FC236}">
                  <a16:creationId xmlns:a16="http://schemas.microsoft.com/office/drawing/2014/main" id="{5EEB1780-3419-43D3-92F8-01A27D868F90}"/>
                </a:ext>
              </a:extLst>
            </p:cNvPr>
            <p:cNvSpPr/>
            <p:nvPr/>
          </p:nvSpPr>
          <p:spPr>
            <a:xfrm>
              <a:off x="914398" y="1425038"/>
              <a:ext cx="4518561" cy="422167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Ins="360000" rtlCol="0" anchor="t"/>
            <a:lstStyle/>
            <a:p>
              <a:pPr marL="285750" indent="-2857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endParaRPr lang="sv-SE" sz="1400" dirty="0">
                <a:solidFill>
                  <a:schemeClr val="tx1"/>
                </a:solidFill>
              </a:endParaRPr>
            </a:p>
            <a:p>
              <a:pPr algn="ctr">
                <a:spcAft>
                  <a:spcPts val="1200"/>
                </a:spcAft>
              </a:pPr>
              <a:r>
                <a:rPr lang="sv-SE" sz="1400" b="1" dirty="0">
                  <a:solidFill>
                    <a:schemeClr val="tx1"/>
                  </a:solidFill>
                </a:rPr>
                <a:t>ARBETSFÖR ÅLDER</a:t>
              </a:r>
            </a:p>
            <a:p>
              <a:pPr marL="285750" indent="-2857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sv-SE" sz="1400" dirty="0">
                  <a:solidFill>
                    <a:schemeClr val="tx1"/>
                  </a:solidFill>
                </a:rPr>
                <a:t>Totalt sett ses en tydlig återhämtning på regionens arbetsmarknad</a:t>
              </a:r>
            </a:p>
            <a:p>
              <a:pPr marL="285750" indent="-2857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sv-SE" sz="1400" dirty="0">
                  <a:solidFill>
                    <a:schemeClr val="tx1"/>
                  </a:solidFill>
                </a:rPr>
                <a:t>Minskningar sker framförallt bland personer som varit arbetslösa upp till 6 månader</a:t>
              </a:r>
            </a:p>
            <a:p>
              <a:pPr marL="285750" indent="-2857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sv-SE" sz="1400" dirty="0">
                  <a:solidFill>
                    <a:schemeClr val="tx1"/>
                  </a:solidFill>
                </a:rPr>
                <a:t>Å andra sidan ses personer som varit arbetslösa mer än 1 år öka – och bland utrikes födda är ökningen större </a:t>
              </a:r>
            </a:p>
          </p:txBody>
        </p: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63F1C3B2-9BEB-4E49-A333-FAC480A9FC14}"/>
                </a:ext>
              </a:extLst>
            </p:cNvPr>
            <p:cNvSpPr/>
            <p:nvPr/>
          </p:nvSpPr>
          <p:spPr>
            <a:xfrm>
              <a:off x="5793177" y="1425036"/>
              <a:ext cx="4518561" cy="422168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Ins="360000" rtlCol="0" anchor="t"/>
            <a:lstStyle/>
            <a:p>
              <a:pPr marL="285750" indent="-2857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endParaRPr lang="sv-SE" sz="1400" dirty="0">
                <a:solidFill>
                  <a:schemeClr val="tx1"/>
                </a:solidFill>
              </a:endParaRPr>
            </a:p>
            <a:p>
              <a:pPr algn="ctr">
                <a:spcAft>
                  <a:spcPts val="1200"/>
                </a:spcAft>
              </a:pPr>
              <a:r>
                <a:rPr lang="sv-SE" sz="1400" b="1" dirty="0">
                  <a:solidFill>
                    <a:schemeClr val="tx1"/>
                  </a:solidFill>
                </a:rPr>
                <a:t>UNGDOMAR</a:t>
              </a:r>
            </a:p>
            <a:p>
              <a:pPr marL="285750" indent="-2857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sv-SE" sz="1400" dirty="0">
                  <a:solidFill>
                    <a:schemeClr val="tx1"/>
                  </a:solidFill>
                </a:rPr>
                <a:t>För ungdomarna minskar arbetslösheten totalt sett </a:t>
              </a:r>
            </a:p>
            <a:p>
              <a:pPr marL="285750" indent="-2857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sv-SE" sz="1400" dirty="0">
                  <a:solidFill>
                    <a:schemeClr val="tx1"/>
                  </a:solidFill>
                </a:rPr>
                <a:t>Även här är minskningarna störst bland ungdomar som varit arbetslösa upp till 6 månader – dock har gruppen unga som varit arbetslösa mer än 6 månader blivit större</a:t>
              </a:r>
            </a:p>
            <a:p>
              <a:pPr marL="285750" indent="-2857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sv-SE" sz="1400" dirty="0">
                  <a:solidFill>
                    <a:schemeClr val="tx1"/>
                  </a:solidFill>
                </a:rPr>
                <a:t>Unga inrikes födda som varit utan arbete i minst 6 månader minskar, dock ses ökningar för de som varit utan arbete mer än 1 år </a:t>
              </a:r>
            </a:p>
            <a:p>
              <a:pPr marL="285750" indent="-2857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sv-SE" sz="1400" dirty="0">
                  <a:solidFill>
                    <a:schemeClr val="tx1"/>
                  </a:solidFill>
                </a:rPr>
                <a:t>För unga utrikes födda personer ses antalet arbetslösa öka för de som varit utan arbete i mer än 6 månader 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57709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 descr="En bild som visar objekt&#10;&#10;Automatiskt genererad beskrivning">
            <a:extLst>
              <a:ext uri="{FF2B5EF4-FFF2-40B4-BE49-F238E27FC236}">
                <a16:creationId xmlns:a16="http://schemas.microsoft.com/office/drawing/2014/main" id="{356EDEBD-3D83-4061-B12D-AAB07D1265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1411" y="1253435"/>
            <a:ext cx="2160000" cy="2160000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4849AF7D-C563-4D1D-B6BE-4B2CF9E485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622" y="1378960"/>
            <a:ext cx="2160000" cy="2160000"/>
          </a:xfrm>
          <a:prstGeom prst="rect">
            <a:avLst/>
          </a:prstGeom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38B71571-751F-4F27-B668-10B6C8881351}"/>
              </a:ext>
            </a:extLst>
          </p:cNvPr>
          <p:cNvSpPr txBox="1"/>
          <p:nvPr/>
        </p:nvSpPr>
        <p:spPr>
          <a:xfrm>
            <a:off x="1" y="3159172"/>
            <a:ext cx="12191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4800" b="1" dirty="0">
                <a:solidFill>
                  <a:schemeClr val="tx2"/>
                </a:solidFill>
              </a:rPr>
              <a:t>Utveckling över tid</a:t>
            </a:r>
          </a:p>
        </p:txBody>
      </p:sp>
    </p:spTree>
    <p:extLst>
      <p:ext uri="{BB962C8B-B14F-4D97-AF65-F5344CB8AC3E}">
        <p14:creationId xmlns:p14="http://schemas.microsoft.com/office/powerpoint/2010/main" val="2986117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ubrik 10">
            <a:extLst>
              <a:ext uri="{FF2B5EF4-FFF2-40B4-BE49-F238E27FC236}">
                <a16:creationId xmlns:a16="http://schemas.microsoft.com/office/drawing/2014/main" id="{1A24E403-4EBD-4CDC-8350-3A87557D7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ntal arbetslösa 16-64 år över tid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38393FC3-50FF-4016-B782-CE6E22300B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2667600" cy="230832"/>
          </a:xfrm>
        </p:spPr>
        <p:txBody>
          <a:bodyPr/>
          <a:lstStyle/>
          <a:p>
            <a:r>
              <a:rPr lang="sv-SE" dirty="0"/>
              <a:t>Källa: Arbetsförmedlingen</a:t>
            </a:r>
          </a:p>
        </p:txBody>
      </p:sp>
      <p:graphicFrame>
        <p:nvGraphicFramePr>
          <p:cNvPr id="20" name="Platshållare för innehåll 19">
            <a:extLst>
              <a:ext uri="{FF2B5EF4-FFF2-40B4-BE49-F238E27FC236}">
                <a16:creationId xmlns:a16="http://schemas.microsoft.com/office/drawing/2014/main" id="{0E42C830-C4EA-4097-AE86-AB28F4DBE18A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559075623"/>
              </p:ext>
            </p:extLst>
          </p:nvPr>
        </p:nvGraphicFramePr>
        <p:xfrm>
          <a:off x="622028" y="1867923"/>
          <a:ext cx="3420000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Diagram 23">
            <a:extLst>
              <a:ext uri="{FF2B5EF4-FFF2-40B4-BE49-F238E27FC236}">
                <a16:creationId xmlns:a16="http://schemas.microsoft.com/office/drawing/2014/main" id="{AD77DDC4-D6B1-4784-8917-CE57356D23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4325071"/>
              </p:ext>
            </p:extLst>
          </p:nvPr>
        </p:nvGraphicFramePr>
        <p:xfrm>
          <a:off x="4298929" y="1869248"/>
          <a:ext cx="3420000" cy="39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" name="Diagram 28">
            <a:extLst>
              <a:ext uri="{FF2B5EF4-FFF2-40B4-BE49-F238E27FC236}">
                <a16:creationId xmlns:a16="http://schemas.microsoft.com/office/drawing/2014/main" id="{C3F193F0-E29E-44D8-8AB9-3E70CB1A18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2674153"/>
              </p:ext>
            </p:extLst>
          </p:nvPr>
        </p:nvGraphicFramePr>
        <p:xfrm>
          <a:off x="7982180" y="1869248"/>
          <a:ext cx="3420000" cy="39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43" name="Grupp 42">
            <a:extLst>
              <a:ext uri="{FF2B5EF4-FFF2-40B4-BE49-F238E27FC236}">
                <a16:creationId xmlns:a16="http://schemas.microsoft.com/office/drawing/2014/main" id="{A58F2695-7C46-489C-952D-70C07D50FFA0}"/>
              </a:ext>
            </a:extLst>
          </p:cNvPr>
          <p:cNvGrpSpPr/>
          <p:nvPr/>
        </p:nvGrpSpPr>
        <p:grpSpPr>
          <a:xfrm>
            <a:off x="1655118" y="1456138"/>
            <a:ext cx="2040712" cy="451406"/>
            <a:chOff x="6412753" y="962552"/>
            <a:chExt cx="2909924" cy="451406"/>
          </a:xfrm>
        </p:grpSpPr>
        <p:sp>
          <p:nvSpPr>
            <p:cNvPr id="39" name="textruta 38">
              <a:extLst>
                <a:ext uri="{FF2B5EF4-FFF2-40B4-BE49-F238E27FC236}">
                  <a16:creationId xmlns:a16="http://schemas.microsoft.com/office/drawing/2014/main" id="{D9CF6887-6D05-4188-A3C5-9F783783AC21}"/>
                </a:ext>
              </a:extLst>
            </p:cNvPr>
            <p:cNvSpPr txBox="1"/>
            <p:nvPr/>
          </p:nvSpPr>
          <p:spPr>
            <a:xfrm>
              <a:off x="6716937" y="962552"/>
              <a:ext cx="2605740" cy="4514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sv-SE" sz="1000" dirty="0"/>
                <a:t>Arbetslösa totalt 16-64 år</a:t>
              </a:r>
            </a:p>
            <a:p>
              <a:r>
                <a:rPr lang="sv-SE" sz="1000" dirty="0"/>
                <a:t>Därav utan arbete &gt;6 mån</a:t>
              </a:r>
            </a:p>
          </p:txBody>
        </p:sp>
        <p:cxnSp>
          <p:nvCxnSpPr>
            <p:cNvPr id="41" name="Rak koppling 40">
              <a:extLst>
                <a:ext uri="{FF2B5EF4-FFF2-40B4-BE49-F238E27FC236}">
                  <a16:creationId xmlns:a16="http://schemas.microsoft.com/office/drawing/2014/main" id="{AA800672-FBAE-4810-9E80-89378E5BE6AE}"/>
                </a:ext>
              </a:extLst>
            </p:cNvPr>
            <p:cNvCxnSpPr/>
            <p:nvPr/>
          </p:nvCxnSpPr>
          <p:spPr>
            <a:xfrm>
              <a:off x="6412753" y="1095376"/>
              <a:ext cx="252000" cy="0"/>
            </a:xfrm>
            <a:prstGeom prst="line">
              <a:avLst/>
            </a:prstGeom>
            <a:ln w="50800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Rak koppling 41">
              <a:extLst>
                <a:ext uri="{FF2B5EF4-FFF2-40B4-BE49-F238E27FC236}">
                  <a16:creationId xmlns:a16="http://schemas.microsoft.com/office/drawing/2014/main" id="{B1856AC1-1369-4144-A9EA-052519C26EFC}"/>
                </a:ext>
              </a:extLst>
            </p:cNvPr>
            <p:cNvCxnSpPr/>
            <p:nvPr/>
          </p:nvCxnSpPr>
          <p:spPr>
            <a:xfrm>
              <a:off x="6412753" y="1287821"/>
              <a:ext cx="252000" cy="0"/>
            </a:xfrm>
            <a:prstGeom prst="line">
              <a:avLst/>
            </a:prstGeom>
            <a:ln w="50800" cap="rnd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upp 58">
            <a:extLst>
              <a:ext uri="{FF2B5EF4-FFF2-40B4-BE49-F238E27FC236}">
                <a16:creationId xmlns:a16="http://schemas.microsoft.com/office/drawing/2014/main" id="{0116DA91-A5CC-4EDC-9762-B69BE1A18B66}"/>
              </a:ext>
            </a:extLst>
          </p:cNvPr>
          <p:cNvGrpSpPr/>
          <p:nvPr/>
        </p:nvGrpSpPr>
        <p:grpSpPr>
          <a:xfrm>
            <a:off x="2236190" y="2301813"/>
            <a:ext cx="1148260" cy="2304000"/>
            <a:chOff x="2077440" y="2301813"/>
            <a:chExt cx="1148260" cy="2304000"/>
          </a:xfrm>
        </p:grpSpPr>
        <p:grpSp>
          <p:nvGrpSpPr>
            <p:cNvPr id="32" name="Grupp 31">
              <a:extLst>
                <a:ext uri="{FF2B5EF4-FFF2-40B4-BE49-F238E27FC236}">
                  <a16:creationId xmlns:a16="http://schemas.microsoft.com/office/drawing/2014/main" id="{8C44C6C3-5574-4EE7-A638-A6E40DA9B02A}"/>
                </a:ext>
              </a:extLst>
            </p:cNvPr>
            <p:cNvGrpSpPr/>
            <p:nvPr/>
          </p:nvGrpSpPr>
          <p:grpSpPr>
            <a:xfrm>
              <a:off x="2079820" y="2301813"/>
              <a:ext cx="1145880" cy="2304000"/>
              <a:chOff x="2079820" y="2301813"/>
              <a:chExt cx="1145880" cy="2304000"/>
            </a:xfrm>
          </p:grpSpPr>
          <p:cxnSp>
            <p:nvCxnSpPr>
              <p:cNvPr id="22" name="Rak koppling 21">
                <a:extLst>
                  <a:ext uri="{FF2B5EF4-FFF2-40B4-BE49-F238E27FC236}">
                    <a16:creationId xmlns:a16="http://schemas.microsoft.com/office/drawing/2014/main" id="{3F279CF1-2559-4302-BD68-C03747E578AD}"/>
                  </a:ext>
                </a:extLst>
              </p:cNvPr>
              <p:cNvCxnSpPr/>
              <p:nvPr/>
            </p:nvCxnSpPr>
            <p:spPr>
              <a:xfrm>
                <a:off x="2079820" y="2301813"/>
                <a:ext cx="0" cy="2304000"/>
              </a:xfrm>
              <a:prstGeom prst="line">
                <a:avLst/>
              </a:prstGeom>
              <a:ln w="28575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ruta 3">
                <a:extLst>
                  <a:ext uri="{FF2B5EF4-FFF2-40B4-BE49-F238E27FC236}">
                    <a16:creationId xmlns:a16="http://schemas.microsoft.com/office/drawing/2014/main" id="{2BA36363-EC70-4765-B59D-93BA9C30E4CD}"/>
                  </a:ext>
                </a:extLst>
              </p:cNvPr>
              <p:cNvSpPr txBox="1"/>
              <p:nvPr/>
            </p:nvSpPr>
            <p:spPr>
              <a:xfrm>
                <a:off x="2292799" y="3866555"/>
                <a:ext cx="932901" cy="527280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sv-SE" sz="900" dirty="0">
                    <a:latin typeface="Arial" panose="020B0604020202020204" pitchFamily="34" charset="0"/>
                    <a:cs typeface="Arial" panose="020B0604020202020204" pitchFamily="34" charset="0"/>
                  </a:rPr>
                  <a:t>Pandemin får fäste</a:t>
                </a:r>
                <a:r>
                  <a:rPr lang="sv-SE" sz="900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 globalt</a:t>
                </a:r>
                <a:endParaRPr lang="sv-SE" sz="9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45" name="Rak koppling 44">
              <a:extLst>
                <a:ext uri="{FF2B5EF4-FFF2-40B4-BE49-F238E27FC236}">
                  <a16:creationId xmlns:a16="http://schemas.microsoft.com/office/drawing/2014/main" id="{F98949A2-3AAC-4104-A0E1-01AEBE0605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77440" y="4140872"/>
              <a:ext cx="307119" cy="4750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p 47">
            <a:extLst>
              <a:ext uri="{FF2B5EF4-FFF2-40B4-BE49-F238E27FC236}">
                <a16:creationId xmlns:a16="http://schemas.microsoft.com/office/drawing/2014/main" id="{3DF89D4E-249B-451A-BA2D-DE86B5DB6611}"/>
              </a:ext>
            </a:extLst>
          </p:cNvPr>
          <p:cNvGrpSpPr/>
          <p:nvPr/>
        </p:nvGrpSpPr>
        <p:grpSpPr>
          <a:xfrm>
            <a:off x="5285256" y="1456138"/>
            <a:ext cx="2040712" cy="451406"/>
            <a:chOff x="6412753" y="962552"/>
            <a:chExt cx="2909924" cy="451406"/>
          </a:xfrm>
        </p:grpSpPr>
        <p:sp>
          <p:nvSpPr>
            <p:cNvPr id="49" name="textruta 48">
              <a:extLst>
                <a:ext uri="{FF2B5EF4-FFF2-40B4-BE49-F238E27FC236}">
                  <a16:creationId xmlns:a16="http://schemas.microsoft.com/office/drawing/2014/main" id="{3EE47CBD-7095-4618-A34F-64E4AB4CD818}"/>
                </a:ext>
              </a:extLst>
            </p:cNvPr>
            <p:cNvSpPr txBox="1"/>
            <p:nvPr/>
          </p:nvSpPr>
          <p:spPr>
            <a:xfrm>
              <a:off x="6716937" y="962552"/>
              <a:ext cx="2605740" cy="4514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sv-SE" sz="1000" dirty="0"/>
                <a:t>Arbetslösa totalt 16-64 år</a:t>
              </a:r>
            </a:p>
            <a:p>
              <a:r>
                <a:rPr lang="sv-SE" sz="1000" dirty="0"/>
                <a:t>Därav utan arbete &gt;12 mån</a:t>
              </a:r>
            </a:p>
          </p:txBody>
        </p:sp>
        <p:cxnSp>
          <p:nvCxnSpPr>
            <p:cNvPr id="50" name="Rak koppling 49">
              <a:extLst>
                <a:ext uri="{FF2B5EF4-FFF2-40B4-BE49-F238E27FC236}">
                  <a16:creationId xmlns:a16="http://schemas.microsoft.com/office/drawing/2014/main" id="{493490DE-2AEF-4F95-ACBF-FED327D7EAA1}"/>
                </a:ext>
              </a:extLst>
            </p:cNvPr>
            <p:cNvCxnSpPr/>
            <p:nvPr/>
          </p:nvCxnSpPr>
          <p:spPr>
            <a:xfrm>
              <a:off x="6412753" y="1095376"/>
              <a:ext cx="252000" cy="0"/>
            </a:xfrm>
            <a:prstGeom prst="line">
              <a:avLst/>
            </a:prstGeom>
            <a:ln w="50800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Rak koppling 50">
              <a:extLst>
                <a:ext uri="{FF2B5EF4-FFF2-40B4-BE49-F238E27FC236}">
                  <a16:creationId xmlns:a16="http://schemas.microsoft.com/office/drawing/2014/main" id="{FEB9B883-8B96-4F9C-99FE-EE922CF961D5}"/>
                </a:ext>
              </a:extLst>
            </p:cNvPr>
            <p:cNvCxnSpPr/>
            <p:nvPr/>
          </p:nvCxnSpPr>
          <p:spPr>
            <a:xfrm>
              <a:off x="6412753" y="1287821"/>
              <a:ext cx="252000" cy="0"/>
            </a:xfrm>
            <a:prstGeom prst="line">
              <a:avLst/>
            </a:prstGeom>
            <a:ln w="5080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upp 60">
            <a:extLst>
              <a:ext uri="{FF2B5EF4-FFF2-40B4-BE49-F238E27FC236}">
                <a16:creationId xmlns:a16="http://schemas.microsoft.com/office/drawing/2014/main" id="{A2B405ED-D353-478F-9BFF-9DF4C36E7523}"/>
              </a:ext>
            </a:extLst>
          </p:cNvPr>
          <p:cNvGrpSpPr/>
          <p:nvPr/>
        </p:nvGrpSpPr>
        <p:grpSpPr>
          <a:xfrm>
            <a:off x="5913845" y="2305772"/>
            <a:ext cx="1195761" cy="2304000"/>
            <a:chOff x="2077441" y="2301813"/>
            <a:chExt cx="1195761" cy="2304000"/>
          </a:xfrm>
        </p:grpSpPr>
        <p:grpSp>
          <p:nvGrpSpPr>
            <p:cNvPr id="62" name="Grupp 61">
              <a:extLst>
                <a:ext uri="{FF2B5EF4-FFF2-40B4-BE49-F238E27FC236}">
                  <a16:creationId xmlns:a16="http://schemas.microsoft.com/office/drawing/2014/main" id="{34C2E32D-0FF5-4E6B-8E3F-DC2334094A13}"/>
                </a:ext>
              </a:extLst>
            </p:cNvPr>
            <p:cNvGrpSpPr/>
            <p:nvPr/>
          </p:nvGrpSpPr>
          <p:grpSpPr>
            <a:xfrm>
              <a:off x="2079820" y="2301813"/>
              <a:ext cx="1193382" cy="2304000"/>
              <a:chOff x="2079820" y="2301813"/>
              <a:chExt cx="1193382" cy="2304000"/>
            </a:xfrm>
          </p:grpSpPr>
          <p:cxnSp>
            <p:nvCxnSpPr>
              <p:cNvPr id="64" name="Rak koppling 63">
                <a:extLst>
                  <a:ext uri="{FF2B5EF4-FFF2-40B4-BE49-F238E27FC236}">
                    <a16:creationId xmlns:a16="http://schemas.microsoft.com/office/drawing/2014/main" id="{F7B7B410-03DC-4C2A-8F18-E13596EBFAD7}"/>
                  </a:ext>
                </a:extLst>
              </p:cNvPr>
              <p:cNvCxnSpPr/>
              <p:nvPr/>
            </p:nvCxnSpPr>
            <p:spPr>
              <a:xfrm>
                <a:off x="2079820" y="2301813"/>
                <a:ext cx="0" cy="2304000"/>
              </a:xfrm>
              <a:prstGeom prst="line">
                <a:avLst/>
              </a:prstGeom>
              <a:ln w="28575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5" name="textruta 3">
                <a:extLst>
                  <a:ext uri="{FF2B5EF4-FFF2-40B4-BE49-F238E27FC236}">
                    <a16:creationId xmlns:a16="http://schemas.microsoft.com/office/drawing/2014/main" id="{E56C0403-80E6-4DC1-80D2-F845D56A2FC0}"/>
                  </a:ext>
                </a:extLst>
              </p:cNvPr>
              <p:cNvSpPr txBox="1"/>
              <p:nvPr/>
            </p:nvSpPr>
            <p:spPr>
              <a:xfrm>
                <a:off x="2340301" y="4068438"/>
                <a:ext cx="932901" cy="527280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sv-SE" sz="900" dirty="0">
                    <a:latin typeface="Arial" panose="020B0604020202020204" pitchFamily="34" charset="0"/>
                    <a:cs typeface="Arial" panose="020B0604020202020204" pitchFamily="34" charset="0"/>
                  </a:rPr>
                  <a:t>Pandemin får fäste</a:t>
                </a:r>
                <a:r>
                  <a:rPr lang="sv-SE" sz="900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 globalt</a:t>
                </a:r>
                <a:endParaRPr lang="sv-SE" sz="9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63" name="Rak koppling 62">
              <a:extLst>
                <a:ext uri="{FF2B5EF4-FFF2-40B4-BE49-F238E27FC236}">
                  <a16:creationId xmlns:a16="http://schemas.microsoft.com/office/drawing/2014/main" id="{37207D32-17ED-4C47-9DEC-993BB972E1E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077441" y="4185993"/>
              <a:ext cx="329277" cy="1437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upp 66">
            <a:extLst>
              <a:ext uri="{FF2B5EF4-FFF2-40B4-BE49-F238E27FC236}">
                <a16:creationId xmlns:a16="http://schemas.microsoft.com/office/drawing/2014/main" id="{0985BC76-64A6-4D9D-96F3-59B3B7AB8B0B}"/>
              </a:ext>
            </a:extLst>
          </p:cNvPr>
          <p:cNvGrpSpPr/>
          <p:nvPr/>
        </p:nvGrpSpPr>
        <p:grpSpPr>
          <a:xfrm>
            <a:off x="8945495" y="1456138"/>
            <a:ext cx="2040712" cy="451406"/>
            <a:chOff x="6412753" y="962552"/>
            <a:chExt cx="2909924" cy="451406"/>
          </a:xfrm>
        </p:grpSpPr>
        <p:sp>
          <p:nvSpPr>
            <p:cNvPr id="68" name="textruta 67">
              <a:extLst>
                <a:ext uri="{FF2B5EF4-FFF2-40B4-BE49-F238E27FC236}">
                  <a16:creationId xmlns:a16="http://schemas.microsoft.com/office/drawing/2014/main" id="{79ECA675-B227-41A6-8CFE-74F4866246F7}"/>
                </a:ext>
              </a:extLst>
            </p:cNvPr>
            <p:cNvSpPr txBox="1"/>
            <p:nvPr/>
          </p:nvSpPr>
          <p:spPr>
            <a:xfrm>
              <a:off x="6716937" y="962552"/>
              <a:ext cx="2605740" cy="4514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sv-SE" sz="1000" dirty="0"/>
                <a:t>Arbetslösa totalt 16-64 år</a:t>
              </a:r>
            </a:p>
            <a:p>
              <a:r>
                <a:rPr lang="sv-SE" sz="1000" dirty="0"/>
                <a:t>Därav utan arbete &gt;24 mån</a:t>
              </a:r>
            </a:p>
          </p:txBody>
        </p:sp>
        <p:cxnSp>
          <p:nvCxnSpPr>
            <p:cNvPr id="69" name="Rak koppling 68">
              <a:extLst>
                <a:ext uri="{FF2B5EF4-FFF2-40B4-BE49-F238E27FC236}">
                  <a16:creationId xmlns:a16="http://schemas.microsoft.com/office/drawing/2014/main" id="{C2EC21D8-D637-4503-AF57-B1D7A6D974BE}"/>
                </a:ext>
              </a:extLst>
            </p:cNvPr>
            <p:cNvCxnSpPr/>
            <p:nvPr/>
          </p:nvCxnSpPr>
          <p:spPr>
            <a:xfrm>
              <a:off x="6412753" y="1095376"/>
              <a:ext cx="252000" cy="0"/>
            </a:xfrm>
            <a:prstGeom prst="line">
              <a:avLst/>
            </a:prstGeom>
            <a:ln w="50800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Rak koppling 69">
              <a:extLst>
                <a:ext uri="{FF2B5EF4-FFF2-40B4-BE49-F238E27FC236}">
                  <a16:creationId xmlns:a16="http://schemas.microsoft.com/office/drawing/2014/main" id="{93D76BAC-1A76-41A9-A66E-BFCF42622CC5}"/>
                </a:ext>
              </a:extLst>
            </p:cNvPr>
            <p:cNvCxnSpPr/>
            <p:nvPr/>
          </p:nvCxnSpPr>
          <p:spPr>
            <a:xfrm>
              <a:off x="6412753" y="1287821"/>
              <a:ext cx="252000" cy="0"/>
            </a:xfrm>
            <a:prstGeom prst="line">
              <a:avLst/>
            </a:prstGeom>
            <a:ln w="50800" cap="rnd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Grupp 70">
            <a:extLst>
              <a:ext uri="{FF2B5EF4-FFF2-40B4-BE49-F238E27FC236}">
                <a16:creationId xmlns:a16="http://schemas.microsoft.com/office/drawing/2014/main" id="{1F8819FF-B41C-4A08-BD69-84E1A07D310A}"/>
              </a:ext>
            </a:extLst>
          </p:cNvPr>
          <p:cNvGrpSpPr/>
          <p:nvPr/>
        </p:nvGrpSpPr>
        <p:grpSpPr>
          <a:xfrm>
            <a:off x="9599913" y="2305772"/>
            <a:ext cx="1195761" cy="2304000"/>
            <a:chOff x="2077441" y="2301813"/>
            <a:chExt cx="1195761" cy="2304000"/>
          </a:xfrm>
        </p:grpSpPr>
        <p:grpSp>
          <p:nvGrpSpPr>
            <p:cNvPr id="72" name="Grupp 71">
              <a:extLst>
                <a:ext uri="{FF2B5EF4-FFF2-40B4-BE49-F238E27FC236}">
                  <a16:creationId xmlns:a16="http://schemas.microsoft.com/office/drawing/2014/main" id="{FA11ADE7-2BCD-4B41-BBFF-FBEB973D338A}"/>
                </a:ext>
              </a:extLst>
            </p:cNvPr>
            <p:cNvGrpSpPr/>
            <p:nvPr/>
          </p:nvGrpSpPr>
          <p:grpSpPr>
            <a:xfrm>
              <a:off x="2079820" y="2301813"/>
              <a:ext cx="1193382" cy="2304000"/>
              <a:chOff x="2079820" y="2301813"/>
              <a:chExt cx="1193382" cy="2304000"/>
            </a:xfrm>
          </p:grpSpPr>
          <p:cxnSp>
            <p:nvCxnSpPr>
              <p:cNvPr id="74" name="Rak koppling 73">
                <a:extLst>
                  <a:ext uri="{FF2B5EF4-FFF2-40B4-BE49-F238E27FC236}">
                    <a16:creationId xmlns:a16="http://schemas.microsoft.com/office/drawing/2014/main" id="{6D8207DE-6946-4AE2-AEBC-2A3CDA174935}"/>
                  </a:ext>
                </a:extLst>
              </p:cNvPr>
              <p:cNvCxnSpPr/>
              <p:nvPr/>
            </p:nvCxnSpPr>
            <p:spPr>
              <a:xfrm>
                <a:off x="2079820" y="2301813"/>
                <a:ext cx="0" cy="2304000"/>
              </a:xfrm>
              <a:prstGeom prst="line">
                <a:avLst/>
              </a:prstGeom>
              <a:ln w="28575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ruta 3">
                <a:extLst>
                  <a:ext uri="{FF2B5EF4-FFF2-40B4-BE49-F238E27FC236}">
                    <a16:creationId xmlns:a16="http://schemas.microsoft.com/office/drawing/2014/main" id="{447B7B5C-7E1D-4FF3-BB12-0009B80FFBFA}"/>
                  </a:ext>
                </a:extLst>
              </p:cNvPr>
              <p:cNvSpPr txBox="1"/>
              <p:nvPr/>
            </p:nvSpPr>
            <p:spPr>
              <a:xfrm>
                <a:off x="2340301" y="3391542"/>
                <a:ext cx="932901" cy="527280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sv-SE" sz="900" dirty="0">
                    <a:latin typeface="Arial" panose="020B0604020202020204" pitchFamily="34" charset="0"/>
                    <a:cs typeface="Arial" panose="020B0604020202020204" pitchFamily="34" charset="0"/>
                  </a:rPr>
                  <a:t>Pandemin får fäste</a:t>
                </a:r>
                <a:r>
                  <a:rPr lang="sv-SE" sz="900" baseline="0" dirty="0">
                    <a:latin typeface="Arial" panose="020B0604020202020204" pitchFamily="34" charset="0"/>
                    <a:cs typeface="Arial" panose="020B0604020202020204" pitchFamily="34" charset="0"/>
                  </a:rPr>
                  <a:t> globalt</a:t>
                </a:r>
                <a:endParaRPr lang="sv-SE" sz="9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73" name="Rak koppling 72">
              <a:extLst>
                <a:ext uri="{FF2B5EF4-FFF2-40B4-BE49-F238E27FC236}">
                  <a16:creationId xmlns:a16="http://schemas.microsoft.com/office/drawing/2014/main" id="{BC46CB95-4133-458B-BA8A-7F0BAB1C2CA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077441" y="3501954"/>
              <a:ext cx="329277" cy="1437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91409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4A96CA95-9A17-41F8-8F29-0D5833FDDD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2847" y="1272163"/>
            <a:ext cx="2160000" cy="2160000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4849AF7D-C563-4D1D-B6BE-4B2CF9E485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622" y="1378960"/>
            <a:ext cx="2160000" cy="2160000"/>
          </a:xfrm>
          <a:prstGeom prst="rect">
            <a:avLst/>
          </a:prstGeom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38B71571-751F-4F27-B668-10B6C8881351}"/>
              </a:ext>
            </a:extLst>
          </p:cNvPr>
          <p:cNvSpPr txBox="1"/>
          <p:nvPr/>
        </p:nvSpPr>
        <p:spPr>
          <a:xfrm>
            <a:off x="1" y="3159172"/>
            <a:ext cx="12191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4800" b="1" dirty="0">
                <a:solidFill>
                  <a:schemeClr val="tx2"/>
                </a:solidFill>
              </a:rPr>
              <a:t>Arbetsför ålder</a:t>
            </a:r>
          </a:p>
        </p:txBody>
      </p:sp>
    </p:spTree>
    <p:extLst>
      <p:ext uri="{BB962C8B-B14F-4D97-AF65-F5344CB8AC3E}">
        <p14:creationId xmlns:p14="http://schemas.microsoft.com/office/powerpoint/2010/main" val="14066479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 6">
            <a:extLst>
              <a:ext uri="{FF2B5EF4-FFF2-40B4-BE49-F238E27FC236}">
                <a16:creationId xmlns:a16="http://schemas.microsoft.com/office/drawing/2014/main" id="{CF20193C-D2AB-4C68-8FD9-3BCE1E8FE660}"/>
              </a:ext>
            </a:extLst>
          </p:cNvPr>
          <p:cNvGrpSpPr/>
          <p:nvPr/>
        </p:nvGrpSpPr>
        <p:grpSpPr>
          <a:xfrm>
            <a:off x="0" y="0"/>
            <a:ext cx="12191998" cy="6858000"/>
            <a:chOff x="0" y="0"/>
            <a:chExt cx="12191998" cy="6858000"/>
          </a:xfrm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36D169E2-6179-42C3-A580-B028D5A68AE3}"/>
                </a:ext>
              </a:extLst>
            </p:cNvPr>
            <p:cNvSpPr/>
            <p:nvPr/>
          </p:nvSpPr>
          <p:spPr>
            <a:xfrm>
              <a:off x="0" y="3429000"/>
              <a:ext cx="6095998" cy="3429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BA4011C0-FA1F-4CF9-B38B-D83D91D9FD19}"/>
                </a:ext>
              </a:extLst>
            </p:cNvPr>
            <p:cNvSpPr/>
            <p:nvPr/>
          </p:nvSpPr>
          <p:spPr>
            <a:xfrm>
              <a:off x="0" y="0"/>
              <a:ext cx="6095998" cy="34290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" name="Rektangel 3">
              <a:extLst>
                <a:ext uri="{FF2B5EF4-FFF2-40B4-BE49-F238E27FC236}">
                  <a16:creationId xmlns:a16="http://schemas.microsoft.com/office/drawing/2014/main" id="{D07721E7-03A7-48A2-8597-7057FC1F6C46}"/>
                </a:ext>
              </a:extLst>
            </p:cNvPr>
            <p:cNvSpPr/>
            <p:nvPr/>
          </p:nvSpPr>
          <p:spPr>
            <a:xfrm>
              <a:off x="6095999" y="0"/>
              <a:ext cx="6095999" cy="685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B18AA2E-51F6-4F8A-B978-31AEFD004F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9274396"/>
              </p:ext>
            </p:extLst>
          </p:nvPr>
        </p:nvGraphicFramePr>
        <p:xfrm>
          <a:off x="707999" y="471403"/>
          <a:ext cx="468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8F24B2CD-8214-421B-A441-89C9C4C75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2378739"/>
              </p:ext>
            </p:extLst>
          </p:nvPr>
        </p:nvGraphicFramePr>
        <p:xfrm>
          <a:off x="707999" y="3907485"/>
          <a:ext cx="468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A8B9B09E-8469-4CF1-A944-18B6B51FA0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607950"/>
              </p:ext>
            </p:extLst>
          </p:nvPr>
        </p:nvGraphicFramePr>
        <p:xfrm>
          <a:off x="6443998" y="549000"/>
          <a:ext cx="540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ruta 11">
            <a:extLst>
              <a:ext uri="{FF2B5EF4-FFF2-40B4-BE49-F238E27FC236}">
                <a16:creationId xmlns:a16="http://schemas.microsoft.com/office/drawing/2014/main" id="{4BECBAD5-B225-4761-A985-B33444109577}"/>
              </a:ext>
            </a:extLst>
          </p:cNvPr>
          <p:cNvSpPr txBox="1"/>
          <p:nvPr/>
        </p:nvSpPr>
        <p:spPr>
          <a:xfrm>
            <a:off x="637035" y="197224"/>
            <a:ext cx="2494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NRIKES FÖDDA 16-64 ÅR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AC2EDFA2-F3B3-4F57-8E66-711FBAFCA292}"/>
              </a:ext>
            </a:extLst>
          </p:cNvPr>
          <p:cNvSpPr txBox="1"/>
          <p:nvPr/>
        </p:nvSpPr>
        <p:spPr>
          <a:xfrm>
            <a:off x="637035" y="3625582"/>
            <a:ext cx="2494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UTRIKES FÖDDA 16-64 ÅR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977F0686-2F3C-4386-BD83-32B4BEEAEF1E}"/>
              </a:ext>
            </a:extLst>
          </p:cNvPr>
          <p:cNvSpPr txBox="1"/>
          <p:nvPr/>
        </p:nvSpPr>
        <p:spPr>
          <a:xfrm>
            <a:off x="6095999" y="197224"/>
            <a:ext cx="60959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>
                <a:solidFill>
                  <a:schemeClr val="tx2"/>
                </a:solidFill>
              </a:rPr>
              <a:t>ARBETSLÖSA TOTALT 16-64 ÅR</a:t>
            </a:r>
          </a:p>
        </p:txBody>
      </p:sp>
      <p:sp>
        <p:nvSpPr>
          <p:cNvPr id="17" name="textruta 16">
            <a:extLst>
              <a:ext uri="{FF2B5EF4-FFF2-40B4-BE49-F238E27FC236}">
                <a16:creationId xmlns:a16="http://schemas.microsoft.com/office/drawing/2014/main" id="{D5523C46-D68B-44E8-B531-4F443354FC5E}"/>
              </a:ext>
            </a:extLst>
          </p:cNvPr>
          <p:cNvSpPr txBox="1"/>
          <p:nvPr/>
        </p:nvSpPr>
        <p:spPr>
          <a:xfrm>
            <a:off x="6604000" y="3779470"/>
            <a:ext cx="4950965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sv-SE" sz="1400" b="1" dirty="0">
                <a:solidFill>
                  <a:schemeClr val="tx2"/>
                </a:solidFill>
              </a:rPr>
              <a:t>Årsbasis analys för hela gruppen 16-64 år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400" dirty="0"/>
              <a:t>Arbetslösheten minskar totalt sett, men långtidsarbetslösheten 1-2 år har ökat kraftig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400" dirty="0"/>
              <a:t>Kortidsarbetslösheten minskar bland både inrikes och utrikes födda, men ökar för de som stått utanför arbetsmarknaden en längre period (&gt;1 å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400" dirty="0"/>
              <a:t>Kraftigast ökning i långtidsarbetslösheten observeras bland utrikes födda i Göteborgsreg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1400" dirty="0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C5851073-51E4-4535-9DDB-A78C30B9AC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1941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4A96CA95-9A17-41F8-8F29-0D5833FDDD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2847" y="1272163"/>
            <a:ext cx="2160000" cy="2160000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4849AF7D-C563-4D1D-B6BE-4B2CF9E485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622" y="1378960"/>
            <a:ext cx="2160000" cy="2160000"/>
          </a:xfrm>
          <a:prstGeom prst="rect">
            <a:avLst/>
          </a:prstGeom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38B71571-751F-4F27-B668-10B6C8881351}"/>
              </a:ext>
            </a:extLst>
          </p:cNvPr>
          <p:cNvSpPr txBox="1"/>
          <p:nvPr/>
        </p:nvSpPr>
        <p:spPr>
          <a:xfrm>
            <a:off x="1" y="3159172"/>
            <a:ext cx="12191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4800" b="1" dirty="0">
                <a:solidFill>
                  <a:schemeClr val="tx2"/>
                </a:solidFill>
              </a:rPr>
              <a:t>Ungdomarna</a:t>
            </a:r>
          </a:p>
        </p:txBody>
      </p:sp>
    </p:spTree>
    <p:extLst>
      <p:ext uri="{BB962C8B-B14F-4D97-AF65-F5344CB8AC3E}">
        <p14:creationId xmlns:p14="http://schemas.microsoft.com/office/powerpoint/2010/main" val="3896117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 8">
            <a:extLst>
              <a:ext uri="{FF2B5EF4-FFF2-40B4-BE49-F238E27FC236}">
                <a16:creationId xmlns:a16="http://schemas.microsoft.com/office/drawing/2014/main" id="{1A75CB2B-5278-4CB4-AAED-0BC190B2926F}"/>
              </a:ext>
            </a:extLst>
          </p:cNvPr>
          <p:cNvGrpSpPr/>
          <p:nvPr/>
        </p:nvGrpSpPr>
        <p:grpSpPr>
          <a:xfrm>
            <a:off x="0" y="0"/>
            <a:ext cx="12191998" cy="6858000"/>
            <a:chOff x="0" y="0"/>
            <a:chExt cx="12191998" cy="6858000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BD1333FD-93FF-4A21-9FCA-2B4CBB3E932B}"/>
                </a:ext>
              </a:extLst>
            </p:cNvPr>
            <p:cNvSpPr/>
            <p:nvPr/>
          </p:nvSpPr>
          <p:spPr>
            <a:xfrm>
              <a:off x="0" y="3429000"/>
              <a:ext cx="6095998" cy="3429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2D729815-B168-4AE2-A60A-9676B351186E}"/>
                </a:ext>
              </a:extLst>
            </p:cNvPr>
            <p:cNvSpPr/>
            <p:nvPr/>
          </p:nvSpPr>
          <p:spPr>
            <a:xfrm>
              <a:off x="0" y="0"/>
              <a:ext cx="6095998" cy="34290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F783D775-CBF1-46AB-99F1-8C451B03E303}"/>
                </a:ext>
              </a:extLst>
            </p:cNvPr>
            <p:cNvSpPr/>
            <p:nvPr/>
          </p:nvSpPr>
          <p:spPr>
            <a:xfrm>
              <a:off x="6095999" y="0"/>
              <a:ext cx="6095999" cy="685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DCA2BA4C-F8BF-45A8-917C-67A1A275C3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6151135"/>
              </p:ext>
            </p:extLst>
          </p:nvPr>
        </p:nvGraphicFramePr>
        <p:xfrm>
          <a:off x="6443998" y="549000"/>
          <a:ext cx="540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ruta 11">
            <a:extLst>
              <a:ext uri="{FF2B5EF4-FFF2-40B4-BE49-F238E27FC236}">
                <a16:creationId xmlns:a16="http://schemas.microsoft.com/office/drawing/2014/main" id="{4BECBAD5-B225-4761-A985-B33444109577}"/>
              </a:ext>
            </a:extLst>
          </p:cNvPr>
          <p:cNvSpPr txBox="1"/>
          <p:nvPr/>
        </p:nvSpPr>
        <p:spPr>
          <a:xfrm>
            <a:off x="637035" y="197224"/>
            <a:ext cx="2494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NRIKES FÖDDA 18-24 ÅR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AC2EDFA2-F3B3-4F57-8E66-711FBAFCA292}"/>
              </a:ext>
            </a:extLst>
          </p:cNvPr>
          <p:cNvSpPr txBox="1"/>
          <p:nvPr/>
        </p:nvSpPr>
        <p:spPr>
          <a:xfrm>
            <a:off x="637035" y="3625582"/>
            <a:ext cx="2494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UTRIKES FÖDDA 18-24 ÅR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977F0686-2F3C-4386-BD83-32B4BEEAEF1E}"/>
              </a:ext>
            </a:extLst>
          </p:cNvPr>
          <p:cNvSpPr txBox="1"/>
          <p:nvPr/>
        </p:nvSpPr>
        <p:spPr>
          <a:xfrm>
            <a:off x="6095999" y="197224"/>
            <a:ext cx="60959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>
                <a:solidFill>
                  <a:schemeClr val="tx2"/>
                </a:solidFill>
              </a:rPr>
              <a:t>ARBETSLÖSA TOTALT 18-24 ÅR</a:t>
            </a:r>
          </a:p>
        </p:txBody>
      </p:sp>
      <p:sp>
        <p:nvSpPr>
          <p:cNvPr id="17" name="textruta 16">
            <a:extLst>
              <a:ext uri="{FF2B5EF4-FFF2-40B4-BE49-F238E27FC236}">
                <a16:creationId xmlns:a16="http://schemas.microsoft.com/office/drawing/2014/main" id="{D5523C46-D68B-44E8-B531-4F443354FC5E}"/>
              </a:ext>
            </a:extLst>
          </p:cNvPr>
          <p:cNvSpPr txBox="1"/>
          <p:nvPr/>
        </p:nvSpPr>
        <p:spPr>
          <a:xfrm>
            <a:off x="6604000" y="3779470"/>
            <a:ext cx="495096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sv-SE" sz="1400" b="1" dirty="0">
                <a:solidFill>
                  <a:schemeClr val="tx2"/>
                </a:solidFill>
              </a:rPr>
              <a:t>Årsbasis analys för ungdomar 18-24 år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400" dirty="0"/>
              <a:t>Arbetslösheten minskar totalt sett bland ungdomarna, men arbetslösa i mer än 1 år har öka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400" dirty="0"/>
              <a:t>Framförallt minskar kortidsarbetslösheten bland inrikes födda ungdomar, medan den ökar bland utrikes födda ungdom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400" dirty="0"/>
              <a:t>Långtidsarbetslösheten ses öka bland både inrikes och utrikes födda ungdomar</a:t>
            </a: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F06E8A51-D03B-4E77-AE50-39B84D6B3C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4050472"/>
              </p:ext>
            </p:extLst>
          </p:nvPr>
        </p:nvGraphicFramePr>
        <p:xfrm>
          <a:off x="637035" y="460458"/>
          <a:ext cx="468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076AE6FF-D963-4C2A-958B-06E1416801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4325799"/>
              </p:ext>
            </p:extLst>
          </p:nvPr>
        </p:nvGraphicFramePr>
        <p:xfrm>
          <a:off x="637035" y="3889052"/>
          <a:ext cx="468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0" name="Bildobjekt 19">
            <a:extLst>
              <a:ext uri="{FF2B5EF4-FFF2-40B4-BE49-F238E27FC236}">
                <a16:creationId xmlns:a16="http://schemas.microsoft.com/office/drawing/2014/main" id="{BCF01FC7-28B6-4EF7-9C5D-EC765CDCA8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1875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8191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dAVXJvXfn1BfT51P6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ENucILuI1MV_9EwYHE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lBrL7f8vqvxoAdb3AC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D8URRfBtC07JDGolJ3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MByrUQGXf7hsQOQsox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rg6HggmY_niiEeFo37og"/>
</p:tagLst>
</file>

<file path=ppt/theme/theme1.xml><?xml version="1.0" encoding="utf-8"?>
<a:theme xmlns:a="http://schemas.openxmlformats.org/drawingml/2006/main" name="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4F745506-321D-4D15-90EB-C111E9433143}" vid="{BA2A30B1-F3DC-4468-B696-E028C913C71C}"/>
    </a:ext>
  </a:extLst>
</a:theme>
</file>

<file path=ppt/theme/theme2.xml><?xml version="1.0" encoding="utf-8"?>
<a:theme xmlns:a="http://schemas.openxmlformats.org/drawingml/2006/main" name="BRG Blue">
  <a:themeElements>
    <a:clrScheme name="Anpassat 104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C6D7E2"/>
      </a:accent1>
      <a:accent2>
        <a:srgbClr val="8AAEC4"/>
      </a:accent2>
      <a:accent3>
        <a:srgbClr val="6997B3"/>
      </a:accent3>
      <a:accent4>
        <a:srgbClr val="47748F"/>
      </a:accent4>
      <a:accent5>
        <a:srgbClr val="335367"/>
      </a:accent5>
      <a:accent6>
        <a:srgbClr val="22354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4F745506-321D-4D15-90EB-C111E9433143}" vid="{ACFFEBDE-E225-48A3-831B-4D4BCB8C903E}"/>
    </a:ext>
  </a:extLst>
</a:theme>
</file>

<file path=ppt/theme/theme3.xml><?xml version="1.0" encoding="utf-8"?>
<a:theme xmlns:a="http://schemas.openxmlformats.org/drawingml/2006/main" name="BRG Green">
  <a:themeElements>
    <a:clrScheme name="Anpassat 101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B7D1C0"/>
      </a:accent1>
      <a:accent2>
        <a:srgbClr val="8FBB9F"/>
      </a:accent2>
      <a:accent3>
        <a:srgbClr val="6AA27E"/>
      </a:accent3>
      <a:accent4>
        <a:srgbClr val="548666"/>
      </a:accent4>
      <a:accent5>
        <a:srgbClr val="2C5A58"/>
      </a:accent5>
      <a:accent6>
        <a:srgbClr val="1B3235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4F745506-321D-4D15-90EB-C111E9433143}" vid="{46E6C772-10F5-4123-B287-0D2E963585EF}"/>
    </a:ext>
  </a:extLst>
</a:theme>
</file>

<file path=ppt/theme/theme4.xml><?xml version="1.0" encoding="utf-8"?>
<a:theme xmlns:a="http://schemas.openxmlformats.org/drawingml/2006/main" name="BRG Red">
  <a:themeElements>
    <a:clrScheme name="Anpassat 105">
      <a:dk1>
        <a:sysClr val="windowText" lastClr="000000"/>
      </a:dk1>
      <a:lt1>
        <a:sysClr val="window" lastClr="FFFFFF"/>
      </a:lt1>
      <a:dk2>
        <a:srgbClr val="2B4158"/>
      </a:dk2>
      <a:lt2>
        <a:srgbClr val="7899BC"/>
      </a:lt2>
      <a:accent1>
        <a:srgbClr val="EEC7B8"/>
      </a:accent1>
      <a:accent2>
        <a:srgbClr val="E2A38A"/>
      </a:accent2>
      <a:accent3>
        <a:srgbClr val="DB8B6B"/>
      </a:accent3>
      <a:accent4>
        <a:srgbClr val="CD5F33"/>
      </a:accent4>
      <a:accent5>
        <a:srgbClr val="9B4826"/>
      </a:accent5>
      <a:accent6>
        <a:srgbClr val="722B1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4F745506-321D-4D15-90EB-C111E9433143}" vid="{63EB8678-95F7-4F7F-99DD-0E6FF19509E1}"/>
    </a:ext>
  </a:extLst>
</a:theme>
</file>

<file path=ppt/theme/theme5.xml><?xml version="1.0" encoding="utf-8"?>
<a:theme xmlns:a="http://schemas.openxmlformats.org/drawingml/2006/main" name="BRG Advanced">
  <a:themeElements>
    <a:clrScheme name="BRG final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4F745506-321D-4D15-90EB-C111E9433143}" vid="{EE59F361-2757-443E-B499-460D6E7A789B}"/>
    </a:ext>
  </a:extLst>
</a:theme>
</file>

<file path=ppt/theme/theme6.xml><?xml version="1.0" encoding="utf-8"?>
<a:theme xmlns:a="http://schemas.openxmlformats.org/drawingml/2006/main" name="BRG Utfallande bild">
  <a:themeElements>
    <a:clrScheme name="BRG final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4F745506-321D-4D15-90EB-C111E9433143}" vid="{A2B9F8C0-F532-4FBE-964E-3BCF2CA51579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RG pptmall</Template>
  <TotalTime>0</TotalTime>
  <Words>392</Words>
  <Application>Microsoft Office PowerPoint</Application>
  <PresentationFormat>Bredbild</PresentationFormat>
  <Paragraphs>65</Paragraphs>
  <Slides>9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6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9</vt:i4>
      </vt:variant>
    </vt:vector>
  </HeadingPairs>
  <TitlesOfParts>
    <vt:vector size="18" baseType="lpstr">
      <vt:lpstr>Arial</vt:lpstr>
      <vt:lpstr>Calibri</vt:lpstr>
      <vt:lpstr>BRG Basic</vt:lpstr>
      <vt:lpstr>BRG Blue</vt:lpstr>
      <vt:lpstr>BRG Green</vt:lpstr>
      <vt:lpstr>BRG Red</vt:lpstr>
      <vt:lpstr>BRG Advanced</vt:lpstr>
      <vt:lpstr>BRG Utfallande bild</vt:lpstr>
      <vt:lpstr>think-cell Slide</vt:lpstr>
      <vt:lpstr>Arbetslöshet en nulägesanalys efter varaktighet </vt:lpstr>
      <vt:lpstr>PowerPoint-presentation</vt:lpstr>
      <vt:lpstr>PowerPoint-presentation</vt:lpstr>
      <vt:lpstr>Antal arbetslösa 16-64 år över tid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ktion: PowerPoint-mall</dc:title>
  <dc:creator>Peter Warda</dc:creator>
  <cp:lastModifiedBy>Peter Warda</cp:lastModifiedBy>
  <cp:revision>23</cp:revision>
  <cp:lastPrinted>2019-03-29T12:26:32Z</cp:lastPrinted>
  <dcterms:created xsi:type="dcterms:W3CDTF">2021-11-12T07:54:03Z</dcterms:created>
  <dcterms:modified xsi:type="dcterms:W3CDTF">2021-11-15T12:53:41Z</dcterms:modified>
</cp:coreProperties>
</file>